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Masters/slideMaster62.xml" ContentType="application/vnd.openxmlformats-officedocument.presentationml.slideMaster+xml"/>
  <Override PartName="/ppt/slideMasters/slideMaster63.xml" ContentType="application/vnd.openxmlformats-officedocument.presentationml.slideMaster+xml"/>
  <Override PartName="/ppt/slideMasters/slideMaster64.xml" ContentType="application/vnd.openxmlformats-officedocument.presentationml.slideMaster+xml"/>
  <Override PartName="/ppt/slideMasters/slideMaster65.xml" ContentType="application/vnd.openxmlformats-officedocument.presentationml.slideMaster+xml"/>
  <Override PartName="/ppt/slideMasters/slideMaster66.xml" ContentType="application/vnd.openxmlformats-officedocument.presentationml.slideMaster+xml"/>
  <Override PartName="/ppt/slideMasters/slideMaster67.xml" ContentType="application/vnd.openxmlformats-officedocument.presentationml.slideMaster+xml"/>
  <Override PartName="/ppt/slideMasters/slideMaster68.xml" ContentType="application/vnd.openxmlformats-officedocument.presentationml.slideMaster+xml"/>
  <Override PartName="/ppt/slideMasters/slideMaster69.xml" ContentType="application/vnd.openxmlformats-officedocument.presentationml.slideMaster+xml"/>
  <Override PartName="/ppt/slideMasters/slideMaster70.xml" ContentType="application/vnd.openxmlformats-officedocument.presentationml.slideMaster+xml"/>
  <Override PartName="/ppt/slideMasters/slideMaster71.xml" ContentType="application/vnd.openxmlformats-officedocument.presentationml.slideMaster+xml"/>
  <Override PartName="/ppt/slideMasters/slideMaster72.xml" ContentType="application/vnd.openxmlformats-officedocument.presentationml.slideMaster+xml"/>
  <Override PartName="/ppt/slideMasters/slideMaster73.xml" ContentType="application/vnd.openxmlformats-officedocument.presentationml.slideMaster+xml"/>
  <Override PartName="/ppt/slideMasters/slideMaster74.xml" ContentType="application/vnd.openxmlformats-officedocument.presentationml.slideMaster+xml"/>
  <Override PartName="/ppt/slideMasters/slideMaster75.xml" ContentType="application/vnd.openxmlformats-officedocument.presentationml.slideMaster+xml"/>
  <Override PartName="/ppt/slideMasters/slideMaster76.xml" ContentType="application/vnd.openxmlformats-officedocument.presentationml.slideMaster+xml"/>
  <Override PartName="/ppt/slideMasters/slideMaster77.xml" ContentType="application/vnd.openxmlformats-officedocument.presentationml.slideMaster+xml"/>
  <Override PartName="/ppt/slideMasters/slideMaster78.xml" ContentType="application/vnd.openxmlformats-officedocument.presentationml.slideMaster+xml"/>
  <Override PartName="/ppt/slideMasters/slideMaster79.xml" ContentType="application/vnd.openxmlformats-officedocument.presentationml.slideMaster+xml"/>
  <Override PartName="/ppt/slideMasters/slideMaster80.xml" ContentType="application/vnd.openxmlformats-officedocument.presentationml.slideMaster+xml"/>
  <Override PartName="/ppt/slideMasters/slideMaster81.xml" ContentType="application/vnd.openxmlformats-officedocument.presentationml.slideMaster+xml"/>
  <Override PartName="/ppt/slideMasters/slideMaster82.xml" ContentType="application/vnd.openxmlformats-officedocument.presentationml.slideMaster+xml"/>
  <Override PartName="/ppt/slideMasters/slideMaster83.xml" ContentType="application/vnd.openxmlformats-officedocument.presentationml.slideMaster+xml"/>
  <Override PartName="/ppt/slideMasters/slideMaster84.xml" ContentType="application/vnd.openxmlformats-officedocument.presentationml.slideMaster+xml"/>
  <Override PartName="/ppt/slideMasters/slideMaster85.xml" ContentType="application/vnd.openxmlformats-officedocument.presentationml.slideMaster+xml"/>
  <Override PartName="/ppt/slideMasters/slideMaster86.xml" ContentType="application/vnd.openxmlformats-officedocument.presentationml.slideMaster+xml"/>
  <Override PartName="/ppt/slideMasters/slideMaster87.xml" ContentType="application/vnd.openxmlformats-officedocument.presentationml.slideMaster+xml"/>
  <Override PartName="/ppt/slideMasters/slideMaster88.xml" ContentType="application/vnd.openxmlformats-officedocument.presentationml.slideMaster+xml"/>
  <Override PartName="/ppt/slideMasters/slideMaster89.xml" ContentType="application/vnd.openxmlformats-officedocument.presentationml.slideMaster+xml"/>
  <Override PartName="/ppt/slideMasters/slideMaster90.xml" ContentType="application/vnd.openxmlformats-officedocument.presentationml.slideMaster+xml"/>
  <Override PartName="/ppt/slideMasters/slideMaster91.xml" ContentType="application/vnd.openxmlformats-officedocument.presentationml.slideMaster+xml"/>
  <Override PartName="/ppt/slideMasters/slideMaster92.xml" ContentType="application/vnd.openxmlformats-officedocument.presentationml.slideMaster+xml"/>
  <Override PartName="/ppt/slideMasters/slideMaster93.xml" ContentType="application/vnd.openxmlformats-officedocument.presentationml.slideMaster+xml"/>
  <Override PartName="/ppt/slideMasters/slideMaster94.xml" ContentType="application/vnd.openxmlformats-officedocument.presentationml.slideMaster+xml"/>
  <Override PartName="/ppt/slideMasters/slideMaster95.xml" ContentType="application/vnd.openxmlformats-officedocument.presentationml.slideMaster+xml"/>
  <Override PartName="/ppt/slideMasters/slideMaster96.xml" ContentType="application/vnd.openxmlformats-officedocument.presentationml.slideMaster+xml"/>
  <Override PartName="/ppt/slideMasters/slideMaster97.xml" ContentType="application/vnd.openxmlformats-officedocument.presentationml.slideMaster+xml"/>
  <Override PartName="/ppt/slideMasters/slideMaster98.xml" ContentType="application/vnd.openxmlformats-officedocument.presentationml.slideMaster+xml"/>
  <Override PartName="/ppt/slideMasters/slideMaster99.xml" ContentType="application/vnd.openxmlformats-officedocument.presentationml.slideMaster+xml"/>
  <Override PartName="/ppt/slideMasters/slideMaster100.xml" ContentType="application/vnd.openxmlformats-officedocument.presentationml.slideMaster+xml"/>
  <Override PartName="/ppt/slideMasters/slideMaster101.xml" ContentType="application/vnd.openxmlformats-officedocument.presentationml.slideMaster+xml"/>
  <Override PartName="/ppt/slideMasters/slideMaster102.xml" ContentType="application/vnd.openxmlformats-officedocument.presentationml.slideMaster+xml"/>
  <Override PartName="/ppt/slideMasters/slideMaster103.xml" ContentType="application/vnd.openxmlformats-officedocument.presentationml.slideMaster+xml"/>
  <Override PartName="/ppt/slideMasters/slideMaster104.xml" ContentType="application/vnd.openxmlformats-officedocument.presentationml.slideMaster+xml"/>
  <Override PartName="/ppt/slideMasters/slideMaster105.xml" ContentType="application/vnd.openxmlformats-officedocument.presentationml.slideMaster+xml"/>
  <Override PartName="/ppt/slideMasters/slideMaster106.xml" ContentType="application/vnd.openxmlformats-officedocument.presentationml.slideMaster+xml"/>
  <Override PartName="/ppt/slideMasters/slideMaster107.xml" ContentType="application/vnd.openxmlformats-officedocument.presentationml.slideMaster+xml"/>
  <Override PartName="/ppt/slideMasters/slideMaster108.xml" ContentType="application/vnd.openxmlformats-officedocument.presentationml.slideMaster+xml"/>
  <Override PartName="/ppt/slideMasters/slideMaster109.xml" ContentType="application/vnd.openxmlformats-officedocument.presentationml.slideMaster+xml"/>
  <Override PartName="/ppt/slideMasters/slideMaster110.xml" ContentType="application/vnd.openxmlformats-officedocument.presentationml.slideMaster+xml"/>
  <Override PartName="/ppt/slideMasters/slideMaster111.xml" ContentType="application/vnd.openxmlformats-officedocument.presentationml.slideMaster+xml"/>
  <Override PartName="/ppt/slideMasters/slideMaster112.xml" ContentType="application/vnd.openxmlformats-officedocument.presentationml.slideMaster+xml"/>
  <Override PartName="/ppt/slideMasters/slideMaster113.xml" ContentType="application/vnd.openxmlformats-officedocument.presentationml.slideMaster+xml"/>
  <Override PartName="/ppt/slideMasters/slideMaster114.xml" ContentType="application/vnd.openxmlformats-officedocument.presentationml.slideMaster+xml"/>
  <Override PartName="/ppt/slideMasters/slideMaster115.xml" ContentType="application/vnd.openxmlformats-officedocument.presentationml.slideMaster+xml"/>
  <Override PartName="/ppt/slideMasters/slideMaster116.xml" ContentType="application/vnd.openxmlformats-officedocument.presentationml.slideMaster+xml"/>
  <Override PartName="/ppt/slideMasters/slideMaster117.xml" ContentType="application/vnd.openxmlformats-officedocument.presentationml.slideMaster+xml"/>
  <Override PartName="/ppt/slideMasters/slideMaster118.xml" ContentType="application/vnd.openxmlformats-officedocument.presentationml.slideMaster+xml"/>
  <Override PartName="/ppt/slideMasters/slideMaster119.xml" ContentType="application/vnd.openxmlformats-officedocument.presentationml.slideMaster+xml"/>
  <Override PartName="/ppt/slideMasters/slideMaster120.xml" ContentType="application/vnd.openxmlformats-officedocument.presentationml.slideMaster+xml"/>
  <Override PartName="/ppt/slideMasters/slideMaster121.xml" ContentType="application/vnd.openxmlformats-officedocument.presentationml.slideMaster+xml"/>
  <Override PartName="/ppt/slideMasters/slideMaster122.xml" ContentType="application/vnd.openxmlformats-officedocument.presentationml.slideMaster+xml"/>
  <Override PartName="/ppt/slideMasters/slideMaster123.xml" ContentType="application/vnd.openxmlformats-officedocument.presentationml.slideMaster+xml"/>
  <Override PartName="/ppt/slideMasters/slideMaster124.xml" ContentType="application/vnd.openxmlformats-officedocument.presentationml.slideMaster+xml"/>
  <Override PartName="/ppt/slideMasters/slideMaster125.xml" ContentType="application/vnd.openxmlformats-officedocument.presentationml.slideMaster+xml"/>
  <Override PartName="/ppt/slideMasters/slideMaster12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8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9.xml" ContentType="application/vnd.openxmlformats-officedocument.theme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10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1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2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3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14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5.xml" ContentType="application/vnd.openxmlformats-officedocument.theme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16.xml" ContentType="application/vnd.openxmlformats-officedocument.theme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7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theme/theme18.xml" ContentType="application/vnd.openxmlformats-officedocument.theme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theme/theme19.xml" ContentType="application/vnd.openxmlformats-officedocument.theme+xml"/>
  <Override PartName="/ppt/slideLayouts/slideLayout245.xml" ContentType="application/vnd.openxmlformats-officedocument.presentationml.slideLayout+xml"/>
  <Override PartName="/ppt/theme/theme20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21.xml" ContentType="application/vnd.openxmlformats-officedocument.theme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22.xml" ContentType="application/vnd.openxmlformats-officedocument.theme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theme/theme23.xml" ContentType="application/vnd.openxmlformats-officedocument.theme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theme/theme24.xml" ContentType="application/vnd.openxmlformats-officedocument.theme+xml"/>
  <Override PartName="/ppt/slideLayouts/slideLayout294.xml" ContentType="application/vnd.openxmlformats-officedocument.presentationml.slideLayout+xml"/>
  <Override PartName="/ppt/theme/theme25.xml" ContentType="application/vnd.openxmlformats-officedocument.theme+xml"/>
  <Override PartName="/ppt/slideLayouts/slideLayout295.xml" ContentType="application/vnd.openxmlformats-officedocument.presentationml.slideLayout+xml"/>
  <Override PartName="/ppt/theme/theme26.xml" ContentType="application/vnd.openxmlformats-officedocument.theme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27.xml" ContentType="application/vnd.openxmlformats-officedocument.theme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theme/theme28.xml" ContentType="application/vnd.openxmlformats-officedocument.theme+xml"/>
  <Override PartName="/ppt/theme/theme29.xml" ContentType="application/vnd.openxmlformats-officedocument.theme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30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theme/theme31.xml" ContentType="application/vnd.openxmlformats-officedocument.theme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32.xml" ContentType="application/vnd.openxmlformats-officedocument.theme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33.xml" ContentType="application/vnd.openxmlformats-officedocument.theme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theme/theme34.xml" ContentType="application/vnd.openxmlformats-officedocument.theme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theme/theme35.xml" ContentType="application/vnd.openxmlformats-officedocument.theme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heme/theme36.xml" ContentType="application/vnd.openxmlformats-officedocument.theme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37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theme/theme38.xml" ContentType="application/vnd.openxmlformats-officedocument.theme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theme/theme39.xml" ContentType="application/vnd.openxmlformats-officedocument.theme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theme/theme40.xml" ContentType="application/vnd.openxmlformats-officedocument.theme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theme/theme41.xml" ContentType="application/vnd.openxmlformats-officedocument.theme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theme/theme42.xml" ContentType="application/vnd.openxmlformats-officedocument.theme+xml"/>
  <Override PartName="/ppt/slideLayouts/slideLayout471.xml" ContentType="application/vnd.openxmlformats-officedocument.presentationml.slideLayout+xml"/>
  <Override PartName="/ppt/theme/theme43.xml" ContentType="application/vnd.openxmlformats-officedocument.theme+xml"/>
  <Override PartName="/ppt/slideLayouts/slideLayout472.xml" ContentType="application/vnd.openxmlformats-officedocument.presentationml.slideLayout+xml"/>
  <Override PartName="/ppt/theme/theme44.xml" ContentType="application/vnd.openxmlformats-officedocument.theme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theme/theme45.xml" ContentType="application/vnd.openxmlformats-officedocument.theme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theme/theme46.xml" ContentType="application/vnd.openxmlformats-officedocument.theme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theme/theme47.xml" ContentType="application/vnd.openxmlformats-officedocument.theme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theme/theme48.xml" ContentType="application/vnd.openxmlformats-officedocument.theme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theme/theme49.xml" ContentType="application/vnd.openxmlformats-officedocument.theme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theme/theme50.xml" ContentType="application/vnd.openxmlformats-officedocument.theme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theme/theme51.xml" ContentType="application/vnd.openxmlformats-officedocument.theme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theme/theme52.xml" ContentType="application/vnd.openxmlformats-officedocument.theme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theme/theme53.xml" ContentType="application/vnd.openxmlformats-officedocument.theme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theme/theme54.xml" ContentType="application/vnd.openxmlformats-officedocument.theme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theme/theme55.xml" ContentType="application/vnd.openxmlformats-officedocument.theme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theme/theme56.xml" ContentType="application/vnd.openxmlformats-officedocument.theme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theme/theme57.xml" ContentType="application/vnd.openxmlformats-officedocument.theme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theme/theme58.xml" ContentType="application/vnd.openxmlformats-officedocument.theme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theme/theme59.xml" ContentType="application/vnd.openxmlformats-officedocument.theme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theme/theme60.xml" ContentType="application/vnd.openxmlformats-officedocument.theme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theme/theme61.xml" ContentType="application/vnd.openxmlformats-officedocument.theme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theme/theme62.xml" ContentType="application/vnd.openxmlformats-officedocument.theme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theme/theme63.xml" ContentType="application/vnd.openxmlformats-officedocument.theme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theme/theme64.xml" ContentType="application/vnd.openxmlformats-officedocument.theme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theme/theme65.xml" ContentType="application/vnd.openxmlformats-officedocument.theme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theme/theme66.xml" ContentType="application/vnd.openxmlformats-officedocument.theme+xml"/>
  <Override PartName="/ppt/tags/tag1.xml" ContentType="application/vnd.openxmlformats-officedocument.presentationml.tags+xml"/>
  <Override PartName="/ppt/slideLayouts/slideLayout738.xml" ContentType="application/vnd.openxmlformats-officedocument.presentationml.slideLayout+xml"/>
  <Override PartName="/ppt/theme/theme67.xml" ContentType="application/vnd.openxmlformats-officedocument.theme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theme/theme68.xml" ContentType="application/vnd.openxmlformats-officedocument.theme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theme/theme69.xml" ContentType="application/vnd.openxmlformats-officedocument.theme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theme/theme70.xml" ContentType="application/vnd.openxmlformats-officedocument.theme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theme/theme71.xml" ContentType="application/vnd.openxmlformats-officedocument.theme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theme/theme72.xml" ContentType="application/vnd.openxmlformats-officedocument.theme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theme/theme73.xml" ContentType="application/vnd.openxmlformats-officedocument.theme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theme/theme74.xml" ContentType="application/vnd.openxmlformats-officedocument.theme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theme/theme75.xml" ContentType="application/vnd.openxmlformats-officedocument.theme+xml"/>
  <Override PartName="/ppt/slideLayouts/slideLayout836.xml" ContentType="application/vnd.openxmlformats-officedocument.presentationml.slideLayout+xml"/>
  <Override PartName="/ppt/theme/theme76.xml" ContentType="application/vnd.openxmlformats-officedocument.theme+xml"/>
  <Override PartName="/ppt/slideLayouts/slideLayout837.xml" ContentType="application/vnd.openxmlformats-officedocument.presentationml.slideLayout+xml"/>
  <Override PartName="/ppt/theme/theme77.xml" ContentType="application/vnd.openxmlformats-officedocument.theme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theme/theme78.xml" ContentType="application/vnd.openxmlformats-officedocument.theme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theme/theme79.xml" ContentType="application/vnd.openxmlformats-officedocument.theme+xml"/>
  <Override PartName="/ppt/slideLayouts/slideLayout861.xml" ContentType="application/vnd.openxmlformats-officedocument.presentationml.slideLayout+xml"/>
  <Override PartName="/ppt/theme/theme80.xml" ContentType="application/vnd.openxmlformats-officedocument.theme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theme/theme81.xml" ContentType="application/vnd.openxmlformats-officedocument.theme+xml"/>
  <Override PartName="/ppt/slideLayouts/slideLayout875.xml" ContentType="application/vnd.openxmlformats-officedocument.presentationml.slideLayout+xml"/>
  <Override PartName="/ppt/theme/theme82.xml" ContentType="application/vnd.openxmlformats-officedocument.theme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theme/theme83.xml" ContentType="application/vnd.openxmlformats-officedocument.theme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theme/theme84.xml" ContentType="application/vnd.openxmlformats-officedocument.theme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theme/theme85.xml" ContentType="application/vnd.openxmlformats-officedocument.theme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theme/theme86.xml" ContentType="application/vnd.openxmlformats-officedocument.theme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theme/theme87.xml" ContentType="application/vnd.openxmlformats-officedocument.theme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theme/theme88.xml" ContentType="application/vnd.openxmlformats-officedocument.theme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theme/theme89.xml" ContentType="application/vnd.openxmlformats-officedocument.theme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theme/theme90.xml" ContentType="application/vnd.openxmlformats-officedocument.theme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theme/theme91.xml" ContentType="application/vnd.openxmlformats-officedocument.theme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theme/theme92.xml" ContentType="application/vnd.openxmlformats-officedocument.theme+xml"/>
  <Override PartName="/ppt/slideLayouts/slideLayout965.xml" ContentType="application/vnd.openxmlformats-officedocument.presentationml.slideLayout+xml"/>
  <Override PartName="/ppt/theme/theme93.xml" ContentType="application/vnd.openxmlformats-officedocument.theme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theme/theme94.xml" ContentType="application/vnd.openxmlformats-officedocument.theme+xml"/>
  <Override PartName="/ppt/slideLayouts/slideLayout979.xml" ContentType="application/vnd.openxmlformats-officedocument.presentationml.slideLayout+xml"/>
  <Override PartName="/ppt/theme/theme95.xml" ContentType="application/vnd.openxmlformats-officedocument.theme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theme/theme96.xml" ContentType="application/vnd.openxmlformats-officedocument.theme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theme/theme97.xml" ContentType="application/vnd.openxmlformats-officedocument.theme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theme/theme98.xml" ContentType="application/vnd.openxmlformats-officedocument.theme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theme/theme99.xml" ContentType="application/vnd.openxmlformats-officedocument.theme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theme/theme100.xml" ContentType="application/vnd.openxmlformats-officedocument.theme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theme/theme101.xml" ContentType="application/vnd.openxmlformats-officedocument.theme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theme/theme102.xml" ContentType="application/vnd.openxmlformats-officedocument.theme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theme/theme103.xml" ContentType="application/vnd.openxmlformats-officedocument.theme+xml"/>
  <Override PartName="/ppt/slideLayouts/slideLayout1065.xml" ContentType="application/vnd.openxmlformats-officedocument.presentationml.slideLayout+xml"/>
  <Override PartName="/ppt/theme/theme104.xml" ContentType="application/vnd.openxmlformats-officedocument.theme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theme/theme105.xml" ContentType="application/vnd.openxmlformats-officedocument.theme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theme/theme106.xml" ContentType="application/vnd.openxmlformats-officedocument.theme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theme/theme107.xml" ContentType="application/vnd.openxmlformats-officedocument.theme+xml"/>
  <Override PartName="/ppt/slideLayouts/slideLayout1096.xml" ContentType="application/vnd.openxmlformats-officedocument.presentationml.slideLayout+xml"/>
  <Override PartName="/ppt/theme/theme108.xml" ContentType="application/vnd.openxmlformats-officedocument.theme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theme/theme109.xml" ContentType="application/vnd.openxmlformats-officedocument.theme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theme/theme110.xml" ContentType="application/vnd.openxmlformats-officedocument.theme+xml"/>
  <Override PartName="/ppt/slideLayouts/slideLayout1114.xml" ContentType="application/vnd.openxmlformats-officedocument.presentationml.slideLayout+xml"/>
  <Override PartName="/ppt/theme/theme111.xml" ContentType="application/vnd.openxmlformats-officedocument.theme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theme/theme112.xml" ContentType="application/vnd.openxmlformats-officedocument.theme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theme/theme113.xml" ContentType="application/vnd.openxmlformats-officedocument.theme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theme/theme114.xml" ContentType="application/vnd.openxmlformats-officedocument.theme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theme/theme115.xml" ContentType="application/vnd.openxmlformats-officedocument.theme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theme/theme116.xml" ContentType="application/vnd.openxmlformats-officedocument.theme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theme/theme117.xml" ContentType="application/vnd.openxmlformats-officedocument.theme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theme/theme118.xml" ContentType="application/vnd.openxmlformats-officedocument.theme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theme/theme119.xml" ContentType="application/vnd.openxmlformats-officedocument.theme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theme/theme120.xml" ContentType="application/vnd.openxmlformats-officedocument.theme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theme/theme121.xml" ContentType="application/vnd.openxmlformats-officedocument.theme+xml"/>
  <Override PartName="/ppt/slideLayouts/slideLayout1266.xml" ContentType="application/vnd.openxmlformats-officedocument.presentationml.slideLayout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theme/theme122.xml" ContentType="application/vnd.openxmlformats-officedocument.theme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theme/theme123.xml" ContentType="application/vnd.openxmlformats-officedocument.theme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theme/theme124.xml" ContentType="application/vnd.openxmlformats-officedocument.theme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theme/theme125.xml" ContentType="application/vnd.openxmlformats-officedocument.theme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theme/theme126.xml" ContentType="application/vnd.openxmlformats-officedocument.theme+xml"/>
  <Override PartName="/ppt/theme/theme127.xml" ContentType="application/vnd.openxmlformats-officedocument.theme+xml"/>
  <Override PartName="/ppt/theme/theme12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60" r:id="rId1"/>
    <p:sldMasterId id="2147483674" r:id="rId2"/>
    <p:sldMasterId id="2147483687" r:id="rId3"/>
    <p:sldMasterId id="2147483700" r:id="rId4"/>
    <p:sldMasterId id="2147483713" r:id="rId5"/>
    <p:sldMasterId id="2147483726" r:id="rId6"/>
    <p:sldMasterId id="2147483742" r:id="rId7"/>
    <p:sldMasterId id="2147483755" r:id="rId8"/>
    <p:sldMasterId id="2147483768" r:id="rId9"/>
    <p:sldMasterId id="2147483784" r:id="rId10"/>
    <p:sldMasterId id="2147483811" r:id="rId11"/>
    <p:sldMasterId id="2147483824" r:id="rId12"/>
    <p:sldMasterId id="2147483837" r:id="rId13"/>
    <p:sldMasterId id="2147483850" r:id="rId14"/>
    <p:sldMasterId id="2147483863" r:id="rId15"/>
    <p:sldMasterId id="2147483884" r:id="rId16"/>
    <p:sldMasterId id="2147483898" r:id="rId17"/>
    <p:sldMasterId id="2147483912" r:id="rId18"/>
    <p:sldMasterId id="2147483926" r:id="rId19"/>
    <p:sldMasterId id="2147483941" r:id="rId20"/>
    <p:sldMasterId id="2147483945" r:id="rId21"/>
    <p:sldMasterId id="2147483957" r:id="rId22"/>
    <p:sldMasterId id="2147483971" r:id="rId23"/>
    <p:sldMasterId id="2147483985" r:id="rId24"/>
    <p:sldMasterId id="2147483997" r:id="rId25"/>
    <p:sldMasterId id="2147483999" r:id="rId26"/>
    <p:sldMasterId id="2147484001" r:id="rId27"/>
    <p:sldMasterId id="2147484013" r:id="rId28"/>
    <p:sldMasterId id="2147484027" r:id="rId29"/>
    <p:sldMasterId id="2147484029" r:id="rId30"/>
    <p:sldMasterId id="2147484047" r:id="rId31"/>
    <p:sldMasterId id="2147484059" r:id="rId32"/>
    <p:sldMasterId id="2147484072" r:id="rId33"/>
    <p:sldMasterId id="2147484084" r:id="rId34"/>
    <p:sldMasterId id="2147484099" r:id="rId35"/>
    <p:sldMasterId id="2147484113" r:id="rId36"/>
    <p:sldMasterId id="2147484128" r:id="rId37"/>
    <p:sldMasterId id="2147484143" r:id="rId38"/>
    <p:sldMasterId id="2147484158" r:id="rId39"/>
    <p:sldMasterId id="2147484162" r:id="rId40"/>
    <p:sldMasterId id="2147484176" r:id="rId41"/>
    <p:sldMasterId id="2147484189" r:id="rId42"/>
    <p:sldMasterId id="2147484202" r:id="rId43"/>
    <p:sldMasterId id="2147484217" r:id="rId44"/>
    <p:sldMasterId id="2147484219" r:id="rId45"/>
    <p:sldMasterId id="2147484232" r:id="rId46"/>
    <p:sldMasterId id="2147484247" r:id="rId47"/>
    <p:sldMasterId id="2147484259" r:id="rId48"/>
    <p:sldMasterId id="2147484276" r:id="rId49"/>
    <p:sldMasterId id="2147484288" r:id="rId50"/>
    <p:sldMasterId id="2147484313" r:id="rId51"/>
    <p:sldMasterId id="2147484326" r:id="rId52"/>
    <p:sldMasterId id="2147484339" r:id="rId53"/>
    <p:sldMasterId id="2147484351" r:id="rId54"/>
    <p:sldMasterId id="2147484365" r:id="rId55"/>
    <p:sldMasterId id="2147484389" r:id="rId56"/>
    <p:sldMasterId id="2147484401" r:id="rId57"/>
    <p:sldMasterId id="2147484413" r:id="rId58"/>
    <p:sldMasterId id="2147484425" r:id="rId59"/>
    <p:sldMasterId id="2147484438" r:id="rId60"/>
    <p:sldMasterId id="2147484451" r:id="rId61"/>
    <p:sldMasterId id="2147484465" r:id="rId62"/>
    <p:sldMasterId id="2147484477" r:id="rId63"/>
    <p:sldMasterId id="2147484493" r:id="rId64"/>
    <p:sldMasterId id="2147484507" r:id="rId65"/>
    <p:sldMasterId id="2147484520" r:id="rId66"/>
    <p:sldMasterId id="2147484532" r:id="rId67"/>
    <p:sldMasterId id="2147484534" r:id="rId68"/>
    <p:sldMasterId id="2147484549" r:id="rId69"/>
    <p:sldMasterId id="2147484561" r:id="rId70"/>
    <p:sldMasterId id="2147484574" r:id="rId71"/>
    <p:sldMasterId id="2147484587" r:id="rId72"/>
    <p:sldMasterId id="2147484600" r:id="rId73"/>
    <p:sldMasterId id="2147484613" r:id="rId74"/>
    <p:sldMasterId id="2147484626" r:id="rId75"/>
    <p:sldMasterId id="2147484640" r:id="rId76"/>
    <p:sldMasterId id="2147484666" r:id="rId77"/>
    <p:sldMasterId id="2147484668" r:id="rId78"/>
    <p:sldMasterId id="2147484681" r:id="rId79"/>
    <p:sldMasterId id="2147484719" r:id="rId80"/>
    <p:sldMasterId id="2147484734" r:id="rId81"/>
    <p:sldMasterId id="2147484784" r:id="rId82"/>
    <p:sldMasterId id="2147484789" r:id="rId83"/>
    <p:sldMasterId id="2147484793" r:id="rId84"/>
    <p:sldMasterId id="2147484806" r:id="rId85"/>
    <p:sldMasterId id="2147484820" r:id="rId86"/>
    <p:sldMasterId id="2147484856" r:id="rId87"/>
    <p:sldMasterId id="2147484860" r:id="rId88"/>
    <p:sldMasterId id="2147484884" r:id="rId89"/>
    <p:sldMasterId id="2147484888" r:id="rId90"/>
    <p:sldMasterId id="2147484912" r:id="rId91"/>
    <p:sldMasterId id="2147484925" r:id="rId92"/>
    <p:sldMasterId id="2147484938" r:id="rId93"/>
    <p:sldMasterId id="2147484954" r:id="rId94"/>
    <p:sldMasterId id="2147484968" r:id="rId95"/>
    <p:sldMasterId id="2147484970" r:id="rId96"/>
    <p:sldMasterId id="2147484983" r:id="rId97"/>
    <p:sldMasterId id="2147484996" r:id="rId98"/>
    <p:sldMasterId id="2147485000" r:id="rId99"/>
    <p:sldMasterId id="2147485025" r:id="rId100"/>
    <p:sldMasterId id="2147485050" r:id="rId101"/>
    <p:sldMasterId id="2147485063" r:id="rId102"/>
    <p:sldMasterId id="2147485077" r:id="rId103"/>
    <p:sldMasterId id="2147485102" r:id="rId104"/>
    <p:sldMasterId id="2147485106" r:id="rId105"/>
    <p:sldMasterId id="2147485120" r:id="rId106"/>
    <p:sldMasterId id="2147485126" r:id="rId107"/>
    <p:sldMasterId id="2147485140" r:id="rId108"/>
    <p:sldMasterId id="2147485142" r:id="rId109"/>
    <p:sldMasterId id="2147485149" r:id="rId110"/>
    <p:sldMasterId id="2147485161" r:id="rId111"/>
    <p:sldMasterId id="2147485164" r:id="rId112"/>
    <p:sldMasterId id="2147485184" r:id="rId113"/>
    <p:sldMasterId id="2147485204" r:id="rId114"/>
    <p:sldMasterId id="2147485212" r:id="rId115"/>
    <p:sldMasterId id="2147485226" r:id="rId116"/>
    <p:sldMasterId id="2147485246" r:id="rId117"/>
    <p:sldMasterId id="2147485261" r:id="rId118"/>
    <p:sldMasterId id="2147485281" r:id="rId119"/>
    <p:sldMasterId id="2147485293" r:id="rId120"/>
    <p:sldMasterId id="2147485307" r:id="rId121"/>
    <p:sldMasterId id="2147485327" r:id="rId122"/>
    <p:sldMasterId id="2147485347" r:id="rId123"/>
    <p:sldMasterId id="2147485366" r:id="rId124"/>
    <p:sldMasterId id="2147485386" r:id="rId125"/>
    <p:sldMasterId id="2147485405" r:id="rId126"/>
  </p:sldMasterIdLst>
  <p:notesMasterIdLst>
    <p:notesMasterId r:id="rId132"/>
  </p:notesMasterIdLst>
  <p:handoutMasterIdLst>
    <p:handoutMasterId r:id="rId133"/>
  </p:handoutMasterIdLst>
  <p:sldIdLst>
    <p:sldId id="1266" r:id="rId127"/>
    <p:sldId id="1932" r:id="rId128"/>
    <p:sldId id="2026" r:id="rId129"/>
    <p:sldId id="1948" r:id="rId130"/>
    <p:sldId id="2072" r:id="rId131"/>
  </p:sldIdLst>
  <p:sldSz cx="9906000" cy="6858000" type="A4"/>
  <p:notesSz cx="7099300" cy="10234613"/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47">
          <p15:clr>
            <a:srgbClr val="A4A3A4"/>
          </p15:clr>
        </p15:guide>
        <p15:guide id="2" pos="615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6600"/>
    <a:srgbClr val="FFFFCC"/>
    <a:srgbClr val="66CCFF"/>
    <a:srgbClr val="CCFFFF"/>
    <a:srgbClr val="CCECFF"/>
    <a:srgbClr val="FFDDE8"/>
    <a:srgbClr val="FFFF99"/>
    <a:srgbClr val="FFC000"/>
    <a:srgbClr val="FFFF00"/>
    <a:srgbClr val="F9B2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中間スタイル 2 - アクセント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中間スタイル 2 - アクセント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中間スタイル 1 - アクセント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8B1032C-EA38-4F05-BA0D-38AFFFC7BED3}" styleName="淡色スタイル 3 - アクセント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424" autoAdjust="0"/>
  </p:normalViewPr>
  <p:slideViewPr>
    <p:cSldViewPr snapToGrid="0" showGuides="1">
      <p:cViewPr varScale="1">
        <p:scale>
          <a:sx n="74" d="100"/>
          <a:sy n="74" d="100"/>
        </p:scale>
        <p:origin x="990" y="72"/>
      </p:cViewPr>
      <p:guideLst>
        <p:guide orient="horz" pos="4247"/>
        <p:guide pos="6159"/>
      </p:guideLst>
    </p:cSldViewPr>
  </p:slid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100" d="100"/>
        <a:sy n="100" d="100"/>
      </p:scale>
      <p:origin x="0" y="-261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Master" Target="slideMasters/slideMaster26.xml"/><Relationship Id="rId117" Type="http://schemas.openxmlformats.org/officeDocument/2006/relationships/slideMaster" Target="slideMasters/slideMaster117.xml"/><Relationship Id="rId21" Type="http://schemas.openxmlformats.org/officeDocument/2006/relationships/slideMaster" Target="slideMasters/slideMaster21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63" Type="http://schemas.openxmlformats.org/officeDocument/2006/relationships/slideMaster" Target="slideMasters/slideMaster63.xml"/><Relationship Id="rId68" Type="http://schemas.openxmlformats.org/officeDocument/2006/relationships/slideMaster" Target="slideMasters/slideMaster68.xml"/><Relationship Id="rId84" Type="http://schemas.openxmlformats.org/officeDocument/2006/relationships/slideMaster" Target="slideMasters/slideMaster84.xml"/><Relationship Id="rId89" Type="http://schemas.openxmlformats.org/officeDocument/2006/relationships/slideMaster" Target="slideMasters/slideMaster89.xml"/><Relationship Id="rId112" Type="http://schemas.openxmlformats.org/officeDocument/2006/relationships/slideMaster" Target="slideMasters/slideMaster112.xml"/><Relationship Id="rId133" Type="http://schemas.openxmlformats.org/officeDocument/2006/relationships/handoutMaster" Target="handoutMasters/handoutMaster1.xml"/><Relationship Id="rId16" Type="http://schemas.openxmlformats.org/officeDocument/2006/relationships/slideMaster" Target="slideMasters/slideMaster16.xml"/><Relationship Id="rId107" Type="http://schemas.openxmlformats.org/officeDocument/2006/relationships/slideMaster" Target="slideMasters/slideMaster107.xml"/><Relationship Id="rId11" Type="http://schemas.openxmlformats.org/officeDocument/2006/relationships/slideMaster" Target="slideMasters/slideMaster11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53" Type="http://schemas.openxmlformats.org/officeDocument/2006/relationships/slideMaster" Target="slideMasters/slideMaster53.xml"/><Relationship Id="rId58" Type="http://schemas.openxmlformats.org/officeDocument/2006/relationships/slideMaster" Target="slideMasters/slideMaster58.xml"/><Relationship Id="rId74" Type="http://schemas.openxmlformats.org/officeDocument/2006/relationships/slideMaster" Target="slideMasters/slideMaster74.xml"/><Relationship Id="rId79" Type="http://schemas.openxmlformats.org/officeDocument/2006/relationships/slideMaster" Target="slideMasters/slideMaster79.xml"/><Relationship Id="rId102" Type="http://schemas.openxmlformats.org/officeDocument/2006/relationships/slideMaster" Target="slideMasters/slideMaster102.xml"/><Relationship Id="rId123" Type="http://schemas.openxmlformats.org/officeDocument/2006/relationships/slideMaster" Target="slideMasters/slideMaster123.xml"/><Relationship Id="rId128" Type="http://schemas.openxmlformats.org/officeDocument/2006/relationships/slide" Target="slides/slide2.xml"/><Relationship Id="rId5" Type="http://schemas.openxmlformats.org/officeDocument/2006/relationships/slideMaster" Target="slideMasters/slideMaster5.xml"/><Relationship Id="rId90" Type="http://schemas.openxmlformats.org/officeDocument/2006/relationships/slideMaster" Target="slideMasters/slideMaster90.xml"/><Relationship Id="rId95" Type="http://schemas.openxmlformats.org/officeDocument/2006/relationships/slideMaster" Target="slideMasters/slideMaster95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Master" Target="slideMasters/slideMaster56.xml"/><Relationship Id="rId64" Type="http://schemas.openxmlformats.org/officeDocument/2006/relationships/slideMaster" Target="slideMasters/slideMaster64.xml"/><Relationship Id="rId69" Type="http://schemas.openxmlformats.org/officeDocument/2006/relationships/slideMaster" Target="slideMasters/slideMaster69.xml"/><Relationship Id="rId77" Type="http://schemas.openxmlformats.org/officeDocument/2006/relationships/slideMaster" Target="slideMasters/slideMaster77.xml"/><Relationship Id="rId100" Type="http://schemas.openxmlformats.org/officeDocument/2006/relationships/slideMaster" Target="slideMasters/slideMaster100.xml"/><Relationship Id="rId105" Type="http://schemas.openxmlformats.org/officeDocument/2006/relationships/slideMaster" Target="slideMasters/slideMaster105.xml"/><Relationship Id="rId113" Type="http://schemas.openxmlformats.org/officeDocument/2006/relationships/slideMaster" Target="slideMasters/slideMaster113.xml"/><Relationship Id="rId118" Type="http://schemas.openxmlformats.org/officeDocument/2006/relationships/slideMaster" Target="slideMasters/slideMaster118.xml"/><Relationship Id="rId126" Type="http://schemas.openxmlformats.org/officeDocument/2006/relationships/slideMaster" Target="slideMasters/slideMaster126.xml"/><Relationship Id="rId134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72" Type="http://schemas.openxmlformats.org/officeDocument/2006/relationships/slideMaster" Target="slideMasters/slideMaster72.xml"/><Relationship Id="rId80" Type="http://schemas.openxmlformats.org/officeDocument/2006/relationships/slideMaster" Target="slideMasters/slideMaster80.xml"/><Relationship Id="rId85" Type="http://schemas.openxmlformats.org/officeDocument/2006/relationships/slideMaster" Target="slideMasters/slideMaster85.xml"/><Relationship Id="rId93" Type="http://schemas.openxmlformats.org/officeDocument/2006/relationships/slideMaster" Target="slideMasters/slideMaster93.xml"/><Relationship Id="rId98" Type="http://schemas.openxmlformats.org/officeDocument/2006/relationships/slideMaster" Target="slideMasters/slideMaster98.xml"/><Relationship Id="rId121" Type="http://schemas.openxmlformats.org/officeDocument/2006/relationships/slideMaster" Target="slideMasters/slideMaster12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Master" Target="slideMasters/slideMaster59.xml"/><Relationship Id="rId67" Type="http://schemas.openxmlformats.org/officeDocument/2006/relationships/slideMaster" Target="slideMasters/slideMaster67.xml"/><Relationship Id="rId103" Type="http://schemas.openxmlformats.org/officeDocument/2006/relationships/slideMaster" Target="slideMasters/slideMaster103.xml"/><Relationship Id="rId108" Type="http://schemas.openxmlformats.org/officeDocument/2006/relationships/slideMaster" Target="slideMasters/slideMaster108.xml"/><Relationship Id="rId116" Type="http://schemas.openxmlformats.org/officeDocument/2006/relationships/slideMaster" Target="slideMasters/slideMaster116.xml"/><Relationship Id="rId124" Type="http://schemas.openxmlformats.org/officeDocument/2006/relationships/slideMaster" Target="slideMasters/slideMaster124.xml"/><Relationship Id="rId129" Type="http://schemas.openxmlformats.org/officeDocument/2006/relationships/slide" Target="slides/slide3.xml"/><Relationship Id="rId137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Master" Target="slideMasters/slideMaster62.xml"/><Relationship Id="rId70" Type="http://schemas.openxmlformats.org/officeDocument/2006/relationships/slideMaster" Target="slideMasters/slideMaster70.xml"/><Relationship Id="rId75" Type="http://schemas.openxmlformats.org/officeDocument/2006/relationships/slideMaster" Target="slideMasters/slideMaster75.xml"/><Relationship Id="rId83" Type="http://schemas.openxmlformats.org/officeDocument/2006/relationships/slideMaster" Target="slideMasters/slideMaster83.xml"/><Relationship Id="rId88" Type="http://schemas.openxmlformats.org/officeDocument/2006/relationships/slideMaster" Target="slideMasters/slideMaster88.xml"/><Relationship Id="rId91" Type="http://schemas.openxmlformats.org/officeDocument/2006/relationships/slideMaster" Target="slideMasters/slideMaster91.xml"/><Relationship Id="rId96" Type="http://schemas.openxmlformats.org/officeDocument/2006/relationships/slideMaster" Target="slideMasters/slideMaster96.xml"/><Relationship Id="rId111" Type="http://schemas.openxmlformats.org/officeDocument/2006/relationships/slideMaster" Target="slideMasters/slideMaster111.xml"/><Relationship Id="rId13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Relationship Id="rId106" Type="http://schemas.openxmlformats.org/officeDocument/2006/relationships/slideMaster" Target="slideMasters/slideMaster106.xml"/><Relationship Id="rId114" Type="http://schemas.openxmlformats.org/officeDocument/2006/relationships/slideMaster" Target="slideMasters/slideMaster114.xml"/><Relationship Id="rId119" Type="http://schemas.openxmlformats.org/officeDocument/2006/relationships/slideMaster" Target="slideMasters/slideMaster119.xml"/><Relationship Id="rId127" Type="http://schemas.openxmlformats.org/officeDocument/2006/relationships/slide" Target="slides/slide1.xml"/><Relationship Id="rId10" Type="http://schemas.openxmlformats.org/officeDocument/2006/relationships/slideMaster" Target="slideMasters/slideMaster10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Master" Target="slideMasters/slideMaster60.xml"/><Relationship Id="rId65" Type="http://schemas.openxmlformats.org/officeDocument/2006/relationships/slideMaster" Target="slideMasters/slideMaster65.xml"/><Relationship Id="rId73" Type="http://schemas.openxmlformats.org/officeDocument/2006/relationships/slideMaster" Target="slideMasters/slideMaster73.xml"/><Relationship Id="rId78" Type="http://schemas.openxmlformats.org/officeDocument/2006/relationships/slideMaster" Target="slideMasters/slideMaster78.xml"/><Relationship Id="rId81" Type="http://schemas.openxmlformats.org/officeDocument/2006/relationships/slideMaster" Target="slideMasters/slideMaster81.xml"/><Relationship Id="rId86" Type="http://schemas.openxmlformats.org/officeDocument/2006/relationships/slideMaster" Target="slideMasters/slideMaster86.xml"/><Relationship Id="rId94" Type="http://schemas.openxmlformats.org/officeDocument/2006/relationships/slideMaster" Target="slideMasters/slideMaster94.xml"/><Relationship Id="rId99" Type="http://schemas.openxmlformats.org/officeDocument/2006/relationships/slideMaster" Target="slideMasters/slideMaster99.xml"/><Relationship Id="rId101" Type="http://schemas.openxmlformats.org/officeDocument/2006/relationships/slideMaster" Target="slideMasters/slideMaster101.xml"/><Relationship Id="rId122" Type="http://schemas.openxmlformats.org/officeDocument/2006/relationships/slideMaster" Target="slideMasters/slideMaster122.xml"/><Relationship Id="rId130" Type="http://schemas.openxmlformats.org/officeDocument/2006/relationships/slide" Target="slides/slide4.xml"/><Relationship Id="rId13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Master" Target="slideMasters/slideMaster39.xml"/><Relationship Id="rId109" Type="http://schemas.openxmlformats.org/officeDocument/2006/relationships/slideMaster" Target="slideMasters/slideMaster109.xml"/><Relationship Id="rId34" Type="http://schemas.openxmlformats.org/officeDocument/2006/relationships/slideMaster" Target="slideMasters/slideMaster34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76" Type="http://schemas.openxmlformats.org/officeDocument/2006/relationships/slideMaster" Target="slideMasters/slideMaster76.xml"/><Relationship Id="rId97" Type="http://schemas.openxmlformats.org/officeDocument/2006/relationships/slideMaster" Target="slideMasters/slideMaster97.xml"/><Relationship Id="rId104" Type="http://schemas.openxmlformats.org/officeDocument/2006/relationships/slideMaster" Target="slideMasters/slideMaster104.xml"/><Relationship Id="rId120" Type="http://schemas.openxmlformats.org/officeDocument/2006/relationships/slideMaster" Target="slideMasters/slideMaster120.xml"/><Relationship Id="rId125" Type="http://schemas.openxmlformats.org/officeDocument/2006/relationships/slideMaster" Target="slideMasters/slideMaster125.xml"/><Relationship Id="rId7" Type="http://schemas.openxmlformats.org/officeDocument/2006/relationships/slideMaster" Target="slideMasters/slideMaster7.xml"/><Relationship Id="rId71" Type="http://schemas.openxmlformats.org/officeDocument/2006/relationships/slideMaster" Target="slideMasters/slideMaster71.xml"/><Relationship Id="rId92" Type="http://schemas.openxmlformats.org/officeDocument/2006/relationships/slideMaster" Target="slideMasters/slideMaster92.xml"/><Relationship Id="rId2" Type="http://schemas.openxmlformats.org/officeDocument/2006/relationships/slideMaster" Target="slideMasters/slideMaster2.xml"/><Relationship Id="rId29" Type="http://schemas.openxmlformats.org/officeDocument/2006/relationships/slideMaster" Target="slideMasters/slideMaster29.xml"/><Relationship Id="rId24" Type="http://schemas.openxmlformats.org/officeDocument/2006/relationships/slideMaster" Target="slideMasters/slideMaster24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66" Type="http://schemas.openxmlformats.org/officeDocument/2006/relationships/slideMaster" Target="slideMasters/slideMaster66.xml"/><Relationship Id="rId87" Type="http://schemas.openxmlformats.org/officeDocument/2006/relationships/slideMaster" Target="slideMasters/slideMaster87.xml"/><Relationship Id="rId110" Type="http://schemas.openxmlformats.org/officeDocument/2006/relationships/slideMaster" Target="slideMasters/slideMaster110.xml"/><Relationship Id="rId115" Type="http://schemas.openxmlformats.org/officeDocument/2006/relationships/slideMaster" Target="slideMasters/slideMaster115.xml"/><Relationship Id="rId131" Type="http://schemas.openxmlformats.org/officeDocument/2006/relationships/slide" Target="slides/slide5.xml"/><Relationship Id="rId136" Type="http://schemas.openxmlformats.org/officeDocument/2006/relationships/theme" Target="theme/theme1.xml"/><Relationship Id="rId61" Type="http://schemas.openxmlformats.org/officeDocument/2006/relationships/slideMaster" Target="slideMasters/slideMaster61.xml"/><Relationship Id="rId82" Type="http://schemas.openxmlformats.org/officeDocument/2006/relationships/slideMaster" Target="slideMasters/slideMaster82.xml"/><Relationship Id="rId19" Type="http://schemas.openxmlformats.org/officeDocument/2006/relationships/slideMaster" Target="slideMasters/slideMaster1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7" y="2"/>
            <a:ext cx="3076977" cy="513789"/>
          </a:xfrm>
          <a:prstGeom prst="rect">
            <a:avLst/>
          </a:prstGeom>
        </p:spPr>
        <p:txBody>
          <a:bodyPr vert="horz" lIns="95323" tIns="47663" rIns="95323" bIns="4766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4020650" y="2"/>
            <a:ext cx="3076976" cy="513789"/>
          </a:xfrm>
          <a:prstGeom prst="rect">
            <a:avLst/>
          </a:prstGeom>
        </p:spPr>
        <p:txBody>
          <a:bodyPr vert="horz" lIns="95323" tIns="47663" rIns="95323" bIns="47663" rtlCol="0"/>
          <a:lstStyle>
            <a:lvl1pPr algn="r">
              <a:defRPr sz="1300"/>
            </a:lvl1pPr>
          </a:lstStyle>
          <a:p>
            <a:fld id="{2362DB92-0138-498D-9793-ADF9061966C9}" type="datetimeFigureOut">
              <a:rPr kumimoji="1" lang="ja-JP" altLang="en-US" smtClean="0"/>
              <a:t>2018/11/19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17" y="9720826"/>
            <a:ext cx="3076977" cy="513789"/>
          </a:xfrm>
          <a:prstGeom prst="rect">
            <a:avLst/>
          </a:prstGeom>
        </p:spPr>
        <p:txBody>
          <a:bodyPr vert="horz" lIns="95323" tIns="47663" rIns="95323" bIns="4766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4020650" y="9720826"/>
            <a:ext cx="3076976" cy="513789"/>
          </a:xfrm>
          <a:prstGeom prst="rect">
            <a:avLst/>
          </a:prstGeom>
        </p:spPr>
        <p:txBody>
          <a:bodyPr vert="horz" lIns="95323" tIns="47663" rIns="95323" bIns="47663" rtlCol="0" anchor="b"/>
          <a:lstStyle>
            <a:lvl1pPr algn="r">
              <a:defRPr sz="1300"/>
            </a:lvl1pPr>
          </a:lstStyle>
          <a:p>
            <a:fld id="{325F3C74-2B99-4C09-B9C9-E354856759B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04303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 1"/>
          <p:cNvSpPr>
            <a:spLocks noGrp="1"/>
          </p:cNvSpPr>
          <p:nvPr>
            <p:ph type="hdr" sz="quarter"/>
          </p:nvPr>
        </p:nvSpPr>
        <p:spPr>
          <a:xfrm>
            <a:off x="8" y="1"/>
            <a:ext cx="3076364" cy="511730"/>
          </a:xfrm>
          <a:prstGeom prst="rect">
            <a:avLst/>
          </a:prstGeom>
        </p:spPr>
        <p:txBody>
          <a:bodyPr vert="horz" lIns="95323" tIns="47663" rIns="95323" bIns="47663" rtlCol="0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idx="1"/>
          </p:nvPr>
        </p:nvSpPr>
        <p:spPr>
          <a:xfrm>
            <a:off x="4021310" y="1"/>
            <a:ext cx="3076364" cy="511730"/>
          </a:xfrm>
          <a:prstGeom prst="rect">
            <a:avLst/>
          </a:prstGeom>
        </p:spPr>
        <p:txBody>
          <a:bodyPr vert="horz" lIns="95323" tIns="47663" rIns="95323" bIns="47663" rtlCol="0"/>
          <a:lstStyle>
            <a:lvl1pPr algn="r">
              <a:defRPr sz="1300"/>
            </a:lvl1pPr>
          </a:lstStyle>
          <a:p>
            <a:fld id="{81073E90-C99F-46D5-BB9F-6A4E50561351}" type="datetimeFigureOut">
              <a:rPr kumimoji="1" lang="ja-JP" altLang="en-US" smtClean="0"/>
              <a:pPr/>
              <a:t>2018/11/19</a:t>
            </a:fld>
            <a:endParaRPr kumimoji="1" lang="ja-JP" altLang="en-US"/>
          </a:p>
        </p:txBody>
      </p:sp>
      <p:sp>
        <p:nvSpPr>
          <p:cNvPr id="4" name="スライド イメージ プレースホルダ 3"/>
          <p:cNvSpPr>
            <a:spLocks noGrp="1" noRot="1" noChangeAspect="1"/>
          </p:cNvSpPr>
          <p:nvPr>
            <p:ph type="sldImg" idx="2"/>
          </p:nvPr>
        </p:nvSpPr>
        <p:spPr>
          <a:xfrm>
            <a:off x="776288" y="766763"/>
            <a:ext cx="5546725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323" tIns="47663" rIns="95323" bIns="47663" rtlCol="0" anchor="ctr"/>
          <a:lstStyle/>
          <a:p>
            <a:endParaRPr lang="ja-JP" altLang="en-US"/>
          </a:p>
        </p:txBody>
      </p:sp>
      <p:sp>
        <p:nvSpPr>
          <p:cNvPr id="5" name="ノー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709931" y="4861443"/>
            <a:ext cx="5679440" cy="4605575"/>
          </a:xfrm>
          <a:prstGeom prst="rect">
            <a:avLst/>
          </a:prstGeom>
        </p:spPr>
        <p:txBody>
          <a:bodyPr vert="horz" lIns="95323" tIns="47663" rIns="95323" bIns="47663" rtlCol="0">
            <a:normAutofit/>
          </a:bodyPr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4"/>
          </p:nvPr>
        </p:nvSpPr>
        <p:spPr>
          <a:xfrm>
            <a:off x="8" y="9721107"/>
            <a:ext cx="3076364" cy="511730"/>
          </a:xfrm>
          <a:prstGeom prst="rect">
            <a:avLst/>
          </a:prstGeom>
        </p:spPr>
        <p:txBody>
          <a:bodyPr vert="horz" lIns="95323" tIns="47663" rIns="95323" bIns="47663" rtlCol="0" anchor="b"/>
          <a:lstStyle>
            <a:lvl1pPr algn="l">
              <a:defRPr sz="13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5"/>
          </p:nvPr>
        </p:nvSpPr>
        <p:spPr>
          <a:xfrm>
            <a:off x="4021310" y="9721107"/>
            <a:ext cx="3076364" cy="511730"/>
          </a:xfrm>
          <a:prstGeom prst="rect">
            <a:avLst/>
          </a:prstGeom>
        </p:spPr>
        <p:txBody>
          <a:bodyPr vert="horz" lIns="95323" tIns="47663" rIns="95323" bIns="47663" rtlCol="0" anchor="b"/>
          <a:lstStyle>
            <a:lvl1pPr algn="r">
              <a:defRPr sz="1300"/>
            </a:lvl1pPr>
          </a:lstStyle>
          <a:p>
            <a:fld id="{9247A257-4C07-4AB6-BC31-F377782D84F4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626338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47A257-4C07-4AB6-BC31-F377782D84F4}" type="slidenum">
              <a:rPr lang="ja-JP" altLang="en-US" smtClean="0">
                <a:solidFill>
                  <a:prstClr val="black"/>
                </a:solidFill>
              </a:rPr>
              <a:pPr/>
              <a:t>0</a:t>
            </a:fld>
            <a:endParaRPr lang="ja-JP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457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AA4369-E33E-4D9E-BB0F-7676288086A5}" type="slidenum">
              <a:rPr lang="ja-JP" altLang="en-US">
                <a:solidFill>
                  <a:prstClr val="black"/>
                </a:solidFill>
              </a:rPr>
              <a:pPr/>
              <a:t>2</a:t>
            </a:fld>
            <a:endParaRPr lang="ja-JP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6301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スライド イメージ プレースホルダー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8723" name="ノート プレースホルダー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ja-JP" altLang="en-US" dirty="0" smtClean="0"/>
              <a:t>総務課：更新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D774D54-7FAF-41D7-9662-021B824D69AE}" type="slidenum">
              <a:rPr lang="ja-JP" alt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ja-JP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7777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8.xml"/></Relationships>
</file>

<file path=ppt/slideLayouts/_rels/slideLayout10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9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9.xml"/></Relationships>
</file>

<file path=ppt/slideLayouts/_rels/slideLayout10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0.xml"/></Relationships>
</file>

<file path=ppt/slideLayouts/_rels/slideLayout10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0.xml"/></Relationships>
</file>

<file path=ppt/slideLayouts/_rels/slideLayout10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1.xml"/></Relationships>
</file>

<file path=ppt/slideLayouts/_rels/slideLayout10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2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2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3.xml"/></Relationships>
</file>

<file path=ppt/slideLayouts/_rels/slideLayout10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3.xml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4.xml"/></Relationships>
</file>

<file path=ppt/slideLayouts/_rels/slideLayout10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5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5.xml"/></Relationships>
</file>

<file path=ppt/slideLayouts/_rels/slideLayout10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6.xml"/></Relationships>
</file>

<file path=ppt/slideLayouts/_rels/slideLayout10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7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7.xml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8.xml"/></Relationships>
</file>

<file path=ppt/slideLayouts/_rels/slideLayout10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0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0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9.xml"/></Relationships>
</file>

<file path=ppt/slideLayouts/_rels/slideLayout1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0.xml"/></Relationships>
</file>

<file path=ppt/slideLayouts/_rels/slideLayout1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0.xml"/></Relationships>
</file>

<file path=ppt/slideLayouts/_rels/slideLayout1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1.xml"/></Relationships>
</file>

<file path=ppt/slideLayouts/_rels/slideLayout1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2.xml"/></Relationships>
</file>

<file path=ppt/slideLayouts/_rels/slideLayout1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2.xml"/></Relationships>
</file>

<file path=ppt/slideLayouts/_rels/slideLayout1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3.xml"/></Relationships>
</file>

<file path=ppt/slideLayouts/_rels/slideLayout1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3.xml"/></Relationships>
</file>

<file path=ppt/slideLayouts/_rels/slideLayout1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4.xml"/></Relationships>
</file>

<file path=ppt/slideLayouts/_rels/slideLayout1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5.xml"/></Relationships>
</file>

<file path=ppt/slideLayouts/_rels/slideLayout1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5.xml"/></Relationships>
</file>

<file path=ppt/slideLayouts/_rels/slideLayout1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6.xml"/></Relationships>
</file>

<file path=ppt/slideLayouts/_rels/slideLayout1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7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7.xml"/></Relationships>
</file>

<file path=ppt/slideLayouts/_rels/slideLayout1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18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8.xml"/></Relationships>
</file>

<file path=ppt/slideLayouts/_rels/slideLayout1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9.xml"/></Relationships>
</file>

<file path=ppt/slideLayouts/_rels/slideLayout1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0.xml"/></Relationships>
</file>

<file path=ppt/slideLayouts/_rels/slideLayout1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1.xml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0.xml"/></Relationships>
</file>

<file path=ppt/slideLayouts/_rels/slideLayout1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1.xml"/></Relationships>
</file>

<file path=ppt/slideLayouts/_rels/slideLayout1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1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2.xml"/></Relationships>
</file>

<file path=ppt/slideLayouts/_rels/slideLayout1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2.xml"/></Relationships>
</file>

<file path=ppt/slideLayouts/_rels/slideLayout1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3.xml"/></Relationships>
</file>

<file path=ppt/slideLayouts/_rels/slideLayout1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3.xml"/></Relationships>
</file>

<file path=ppt/slideLayouts/_rels/slideLayout1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4.xml"/></Relationships>
</file>

<file path=ppt/slideLayouts/_rels/slideLayout1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4.xml"/></Relationships>
</file>

<file path=ppt/slideLayouts/_rels/slideLayout1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25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6.xml"/></Relationships>
</file>

<file path=ppt/slideLayouts/_rels/slideLayout1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6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8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0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1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2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3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4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6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8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0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1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5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6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7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9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0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1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2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3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4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5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6.xml"/></Relationships>
</file>

<file path=ppt/slideLayouts/_rels/slideLayout6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7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9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0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1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2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2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3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4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4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5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5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6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6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7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8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9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9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0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0.xml"/></Relationships>
</file>

<file path=ppt/slideLayouts/_rels/slideLayout7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1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1.xml"/></Relationships>
</file>

<file path=ppt/slideLayouts/_rels/slideLayout7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2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2.xml"/></Relationships>
</file>

<file path=ppt/slideLayouts/_rels/slideLayout7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3.xml"/></Relationships>
</file>

<file path=ppt/slideLayouts/_rels/slideLayout8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4.xml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4.xml"/></Relationships>
</file>

<file path=ppt/slideLayouts/_rels/slideLayout8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5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5.xml"/></Relationships>
</file>

<file path=ppt/slideLayouts/_rels/slideLayout8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6.xml"/></Relationships>
</file>

<file path=ppt/slideLayouts/_rels/slideLayout8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7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8.xml"/></Relationships>
</file>

<file path=ppt/slideLayouts/_rels/slideLayout8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9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9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0.xml"/></Relationships>
</file>

<file path=ppt/slideLayouts/_rels/slideLayout8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1.xml"/></Relationships>
</file>

<file path=ppt/slideLayouts/_rels/slideLayout8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1.xml"/></Relationships>
</file>

<file path=ppt/slideLayouts/_rels/slideLayout8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2.xml"/></Relationships>
</file>

<file path=ppt/slideLayouts/_rels/slideLayout8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3.xml"/></Relationships>
</file>

<file path=ppt/slideLayouts/_rels/slideLayout8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4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5.xml"/></Relationships>
</file>

<file path=ppt/slideLayouts/_rels/slideLayout8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8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8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8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8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8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5.xml"/></Relationships>
</file>

<file path=ppt/slideLayouts/_rels/slideLayout9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6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6.xml"/></Relationships>
</file>

<file path=ppt/slideLayouts/_rels/slideLayout9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7.xml"/></Relationships>
</file>

<file path=ppt/slideLayouts/_rels/slideLayout9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8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8.xml"/></Relationships>
</file>

<file path=ppt/slideLayouts/_rels/slideLayout9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9.xml"/></Relationships>
</file>

<file path=ppt/slideLayouts/_rels/slideLayout9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0.xml"/></Relationships>
</file>

<file path=ppt/slideLayouts/_rels/slideLayout9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91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1.xml"/></Relationships>
</file>

<file path=ppt/slideLayouts/_rels/slideLayout9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2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2.xml"/></Relationships>
</file>

<file path=ppt/slideLayouts/_rels/slideLayout9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3.xml"/></Relationships>
</file>

<file path=ppt/slideLayouts/_rels/slideLayout9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4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4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6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6.xml"/></Relationships>
</file>

<file path=ppt/slideLayouts/_rels/slideLayout9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7.xml"/></Relationships>
</file>

<file path=ppt/slideLayouts/_rels/slideLayout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9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9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9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9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B27D50-2DE0-4CEC-A9AE-8B0D806E107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146903"/>
      </p:ext>
    </p:extLst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0DF110-E57D-49AE-8C52-AC5B954BE0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200416"/>
      </p:ext>
    </p:extLst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425CC-6EA6-48B1-BD25-13799BD7F27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43073"/>
      </p:ext>
    </p:extLst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43CF58-4965-4731-80ED-1142F524B9C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209442"/>
      </p:ext>
    </p:extLst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381760"/>
      </p:ext>
    </p:extLst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292500"/>
      </p:ext>
    </p:extLst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6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126B8DEF-4FAE-4209-8C14-EEDE3E7F1EBC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8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6904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8341F6E-C57A-47B2-982D-6DD6692FFF1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9570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FF8C1B-F0FF-4B7D-97E6-FF02B046B16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9002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039566-C2EF-4FB3-8E5E-B8D3A4E190D1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8993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19A297-6FE5-4626-BDFD-722DC17707EE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798453"/>
      </p:ext>
    </p:extLst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10B9331-4A48-4F34-B073-E2A5CD1E8CE3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493153"/>
      </p:ext>
    </p:extLst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0EB9E85-BCEE-4B48-9843-7992F48775B3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166405"/>
      </p:ext>
    </p:extLst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6061F9-31ED-4340-AEA2-234E063FC0B3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582087"/>
      </p:ext>
    </p:extLst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4E5F7C-A97B-4ADC-85C3-D62309319BE6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643408"/>
      </p:ext>
    </p:extLst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580ED3-60FF-4D0B-A38B-AD46C43E429C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70749"/>
      </p:ext>
    </p:extLst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59DB95-7563-4362-B03E-367AE577CD07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491119"/>
      </p:ext>
    </p:extLst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1610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232907"/>
      </p:ext>
    </p:extLst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08773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8755578"/>
      </p:ext>
    </p:extLst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054877"/>
      </p:ext>
    </p:extLst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0335969"/>
      </p:ext>
    </p:extLst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816878"/>
      </p:ext>
    </p:extLst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885120"/>
      </p:ext>
    </p:extLst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536771"/>
      </p:ext>
    </p:extLst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3995853"/>
      </p:ext>
    </p:extLst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103882"/>
      </p:ext>
    </p:extLst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073545"/>
      </p:ext>
    </p:extLst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90884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863519"/>
      </p:ext>
    </p:extLst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034163"/>
      </p:ext>
    </p:extLst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6920791"/>
      </p:ext>
    </p:extLst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653448"/>
      </p:ext>
    </p:extLst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080695"/>
      </p:ext>
    </p:extLst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584604"/>
      </p:ext>
    </p:extLst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380935"/>
      </p:ext>
    </p:extLst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005223"/>
      </p:ext>
    </p:extLst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  <a:prstGeom prst="rect">
            <a:avLst/>
          </a:prstGeo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95300" y="1600202"/>
            <a:ext cx="89154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591660"/>
      </p:ext>
    </p:extLst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  <a:prstGeom prst="rect">
            <a:avLst/>
          </a:prstGeo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23458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630601"/>
      </p:ext>
    </p:extLst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 smtClean="0"/>
              <a:t>マスタ サブタイトルの書式設定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890527"/>
      </p:ext>
    </p:extLst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389853"/>
      </p:ext>
    </p:extLst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079659"/>
      </p:ext>
    </p:extLst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643943"/>
      </p:ext>
    </p:extLst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366026"/>
      </p:ext>
    </p:extLst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148838"/>
      </p:ext>
    </p:extLst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507870"/>
      </p:ext>
    </p:extLst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050129"/>
      </p:ext>
    </p:extLst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01969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 smtClean="0"/>
              <a:t>アイコンをクリックして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717567"/>
      </p:ext>
    </p:extLst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6259632"/>
      </p:ext>
    </p:extLst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307001"/>
      </p:ext>
    </p:extLst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/>
          <a:p>
            <a:pPr lvl="0"/>
            <a:r>
              <a:rPr lang="ja-JP" altLang="en-US" noProof="0" smtClean="0"/>
              <a:t>アイコンをクリックしてクリップ アートを追加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8501477"/>
      </p:ext>
    </p:extLst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D688EB-AAD2-4D75-B846-AEEE14CEC94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027710"/>
      </p:ext>
    </p:extLst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5726526"/>
      </p:ext>
    </p:extLst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5BC70-FA7B-4294-9407-7D831E2620E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715963"/>
      </p:ext>
    </p:extLst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B91FFC-4712-4403-B14F-65B4292339A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5578617"/>
      </p:ext>
    </p:extLst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D6A6C-8CFC-4569-AAE2-C9E9C43E822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20408"/>
      </p:ext>
    </p:extLst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B3383-B952-447B-9C5E-1900D707C2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068984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BF862-F8CF-4645-B5BC-AB0B0FF1A33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2733820"/>
      </p:ext>
    </p:extLst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41DE-1218-4884-9D22-7935396BCF0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109382"/>
      </p:ext>
    </p:extLst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49A1BA-81F0-40BD-B1AB-79BF2138513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676942"/>
      </p:ext>
    </p:extLst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C61071-CD67-49B9-ADBD-65B9335A768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8435232"/>
      </p:ext>
    </p:extLst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8979AD-707B-404B-9B5B-F1DD9BCAD67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621182"/>
      </p:ext>
    </p:extLst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759123"/>
      </p:ext>
    </p:extLst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2413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4453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853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4833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009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203910"/>
      </p:ext>
    </p:extLst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64064"/>
      </p:ext>
    </p:extLst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358309"/>
      </p:ext>
    </p:extLst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928539"/>
      </p:ext>
    </p:extLst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097836"/>
      </p:ext>
    </p:extLst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149930"/>
      </p:ext>
    </p:extLst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569853"/>
      </p:ext>
    </p:extLst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928244"/>
      </p:ext>
    </p:extLst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2516781"/>
      </p:ext>
    </p:extLst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955E54-F656-4E24-9927-D2FC61F0157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265523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210590"/>
      </p:ext>
    </p:extLst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タイトルとグラ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グラフ プレースホルダ 2"/>
          <p:cNvSpPr>
            <a:spLocks noGrp="1"/>
          </p:cNvSpPr>
          <p:nvPr>
            <p:ph type="chart" idx="1"/>
          </p:nvPr>
        </p:nvSpPr>
        <p:spPr>
          <a:xfrm>
            <a:off x="495300" y="1600200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D7B419-96B3-4FD1-B44E-B3EB116F8C4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071065"/>
      </p:ext>
    </p:extLst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A25FC9-F0FC-4D2A-85EE-DF55D4CC158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496347"/>
      </p:ext>
    </p:extLst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BE8100-8088-45CB-B917-6BE4E083018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10388"/>
      </p:ext>
    </p:extLst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148571-A51D-42AB-A5BD-491C79FA470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19712"/>
      </p:ext>
    </p:extLst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7FD554-7989-4565-AEBD-3B6BE6DBDCD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140940"/>
      </p:ext>
    </p:extLst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7907DA-822D-421E-8D3E-E41A9D7EFED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600098"/>
      </p:ext>
    </p:extLst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790F95-3960-4937-99C9-00F488649E1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550578"/>
      </p:ext>
    </p:extLst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1646C-36F3-43AC-927C-8ED3791C976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2828951"/>
      </p:ext>
    </p:extLst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BC7E32-9606-4B49-A17D-9B68AE1A3FC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362812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6F9722-C400-44AD-B2B1-FAF30A980C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02210"/>
      </p:ext>
    </p:extLst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7B98E3E-48A1-4A95-B62A-6ACECD9BEC4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038637"/>
      </p:ext>
    </p:extLst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8700E8-ABAE-49EB-A167-432273E8851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355004"/>
      </p:ext>
    </p:extLst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466F42-9B43-47DE-8DB7-CCB5E10EF9C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27453"/>
      </p:ext>
    </p:extLst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タイトルとグラ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グラフ プレースホルダ 2"/>
          <p:cNvSpPr>
            <a:spLocks noGrp="1"/>
          </p:cNvSpPr>
          <p:nvPr>
            <p:ph type="chart" idx="1"/>
          </p:nvPr>
        </p:nvSpPr>
        <p:spPr>
          <a:xfrm>
            <a:off x="495300" y="1600200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D7B419-96B3-4FD1-B44E-B3EB116F8C4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374203"/>
      </p:ext>
    </p:extLst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495300" y="1600200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EF92B4-5976-4C0F-AF72-BC3F63167AB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848503"/>
      </p:ext>
    </p:extLst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348908"/>
      </p:ext>
    </p:extLst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723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3679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6484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559630"/>
      </p:ext>
    </p:extLst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B3383-B952-447B-9C5E-1900D707C2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794233"/>
      </p:ext>
    </p:extLst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834204"/>
      </p:ext>
    </p:extLst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D688EB-AAD2-4D75-B846-AEEE14CEC94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998621"/>
      </p:ext>
    </p:extLst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3754774"/>
      </p:ext>
    </p:extLst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5BC70-FA7B-4294-9407-7D831E2620E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673537"/>
      </p:ext>
    </p:extLst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B91FFC-4712-4403-B14F-65B4292339A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024366"/>
      </p:ext>
    </p:extLst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D6A6C-8CFC-4569-AAE2-C9E9C43E822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213479"/>
      </p:ext>
    </p:extLst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B3383-B952-447B-9C5E-1900D707C2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0456830"/>
      </p:ext>
    </p:extLst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BF862-F8CF-4645-B5BC-AB0B0FF1A33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21371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41DE-1218-4884-9D22-7935396BCF0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993550"/>
      </p:ext>
    </p:extLst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49A1BA-81F0-40BD-B1AB-79BF2138513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581040"/>
      </p:ext>
    </p:extLst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C61071-CD67-49B9-ADBD-65B9335A768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147019"/>
      </p:ext>
    </p:extLst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8979AD-707B-404B-9B5B-F1DD9BCAD67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686930"/>
      </p:ext>
    </p:extLst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998549"/>
      </p:ext>
    </p:extLst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2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938247342"/>
      </p:ext>
    </p:extLst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5439755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638041087"/>
      </p:ext>
    </p:extLst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529466935"/>
      </p:ext>
    </p:extLst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577161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74160586"/>
      </p:ext>
    </p:extLst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01576984"/>
      </p:ext>
    </p:extLst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503134995"/>
      </p:ext>
    </p:extLst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47313869"/>
      </p:ext>
    </p:extLst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57643939"/>
      </p:ext>
    </p:extLst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19599716"/>
      </p:ext>
    </p:extLst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6811260"/>
      </p:ext>
    </p:extLst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540929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783254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89244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6D96D1-B20F-4362-B887-E6793782155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57823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64576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9950241"/>
      </p:ext>
    </p:extLst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95301" y="6356353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B5002089-99FD-4D57-A552-A16FF68B221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353519917"/>
      </p:ext>
    </p:extLst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2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980805373"/>
      </p:ext>
    </p:extLst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68965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247972192"/>
      </p:ext>
    </p:extLst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134477692"/>
      </p:ext>
    </p:extLst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09638862"/>
      </p:ext>
    </p:extLst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96450782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764233-5231-4BB3-864E-7369979C153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94370388"/>
      </p:ext>
    </p:extLst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650092189"/>
      </p:ext>
    </p:extLst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876593698"/>
      </p:ext>
    </p:extLst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25476211"/>
      </p:ext>
    </p:extLst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43020972"/>
      </p:ext>
    </p:extLst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50416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7728358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9632003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55605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9414855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7831A5-6529-4C27-8643-527E381946C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95301" y="6356353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B5002089-99FD-4D57-A552-A16FF68B221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41980475"/>
      </p:ext>
    </p:extLst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タイトル、コンテンツ、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quarter" idx="2"/>
          </p:nvPr>
        </p:nvSpPr>
        <p:spPr>
          <a:xfrm>
            <a:off x="5029200" y="1600200"/>
            <a:ext cx="4381500" cy="21859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コンテンツ プレースホルダー 4"/>
          <p:cNvSpPr>
            <a:spLocks noGrp="1"/>
          </p:cNvSpPr>
          <p:nvPr>
            <p:ph sz="quarter" idx="3"/>
          </p:nvPr>
        </p:nvSpPr>
        <p:spPr>
          <a:xfrm>
            <a:off x="5029200" y="3938588"/>
            <a:ext cx="4381500" cy="2187575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418163-7DF4-44B7-871F-D3553A50D876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498473718"/>
      </p:ext>
    </p:extLst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735539"/>
      </p:ext>
    </p:extLst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1"/>
            </a:lvl1pPr>
            <a:lvl2pPr marL="457181" indent="0" algn="ctr">
              <a:buNone/>
              <a:defRPr sz="2000"/>
            </a:lvl2pPr>
            <a:lvl3pPr marL="914362" indent="0" algn="ctr">
              <a:buNone/>
              <a:defRPr sz="1800"/>
            </a:lvl3pPr>
            <a:lvl4pPr marL="1371543" indent="0" algn="ctr">
              <a:buNone/>
              <a:defRPr sz="1600"/>
            </a:lvl4pPr>
            <a:lvl5pPr marL="1828723" indent="0" algn="ctr">
              <a:buNone/>
              <a:defRPr sz="1600"/>
            </a:lvl5pPr>
            <a:lvl6pPr marL="2285905" indent="0" algn="ctr">
              <a:buNone/>
              <a:defRPr sz="1600"/>
            </a:lvl6pPr>
            <a:lvl7pPr marL="2743085" indent="0" algn="ctr">
              <a:buNone/>
              <a:defRPr sz="1600"/>
            </a:lvl7pPr>
            <a:lvl8pPr marL="3200266" indent="0" algn="ctr">
              <a:buNone/>
              <a:defRPr sz="1600"/>
            </a:lvl8pPr>
            <a:lvl9pPr marL="3657446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8269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738846"/>
      </p:ext>
    </p:extLst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1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264336"/>
      </p:ext>
    </p:extLst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10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4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2023" indent="0">
              <a:buNone/>
              <a:defRPr sz="1663"/>
            </a:lvl2pPr>
            <a:lvl3pPr marL="844048" indent="0">
              <a:buNone/>
              <a:defRPr sz="1478"/>
            </a:lvl3pPr>
            <a:lvl4pPr marL="1266071" indent="0">
              <a:buNone/>
              <a:defRPr sz="1291"/>
            </a:lvl4pPr>
            <a:lvl5pPr marL="1688095" indent="0">
              <a:buNone/>
              <a:defRPr sz="1291"/>
            </a:lvl5pPr>
            <a:lvl6pPr marL="2110118" indent="0">
              <a:buNone/>
              <a:defRPr sz="1291"/>
            </a:lvl6pPr>
            <a:lvl7pPr marL="2532142" indent="0">
              <a:buNone/>
              <a:defRPr sz="1291"/>
            </a:lvl7pPr>
            <a:lvl8pPr marL="2954165" indent="0">
              <a:buNone/>
              <a:defRPr sz="1291"/>
            </a:lvl8pPr>
            <a:lvl9pPr marL="3376190" indent="0">
              <a:buNone/>
              <a:defRPr sz="129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734249"/>
      </p:ext>
    </p:extLst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>
              <a:solidFill>
                <a:prstClr val="black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5892756"/>
      </p:ext>
    </p:extLst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134900"/>
      </p:ext>
    </p:extLst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544930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778854-6AC8-4ACB-9D4B-318D5038A89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075122"/>
      </p:ext>
    </p:extLst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441133"/>
      </p:ext>
    </p:extLst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800"/>
      </p:ext>
    </p:extLst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622448"/>
      </p:ext>
    </p:extLst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006608"/>
      </p:ext>
    </p:extLst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6867492"/>
      </p:ext>
    </p:extLst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363442"/>
      </p:ext>
    </p:extLst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97486"/>
      </p:ext>
    </p:extLst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349311"/>
      </p:ext>
    </p:extLst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74145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E58816-8315-46BD-82DC-E2EE128B981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5314621"/>
      </p:ext>
    </p:extLst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4" y="3284540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4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43416762"/>
      </p:ext>
    </p:extLst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96149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34802590"/>
      </p:ext>
    </p:extLst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180944923"/>
      </p:ext>
    </p:extLst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210796769"/>
      </p:ext>
    </p:extLst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52132843"/>
      </p:ext>
    </p:extLst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73380043"/>
      </p:ext>
    </p:extLst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4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66040979"/>
      </p:ext>
    </p:extLst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00965328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63FE83-20DA-48C3-B581-DF2DEC9B4FC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40932101"/>
      </p:ext>
    </p:extLst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4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4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8282661"/>
      </p:ext>
    </p:extLst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90232511"/>
      </p:ext>
    </p:extLst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917663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1893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73136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5879599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657247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2721647"/>
      </p:ext>
    </p:extLst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95301" y="6356355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fld id="{B5002089-99FD-4D57-A552-A16FF68B221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8753961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96331-4B3E-4AF7-8970-BE8FEAB1474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3372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967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038182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852124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794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521040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7501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550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068367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15801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EA60F-BDDD-47BC-A38D-04DB16E202E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8891647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569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 dirty="0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3630245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 dirty="0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5442741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4" y="3284540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4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67780178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173230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08879685"/>
      </p:ext>
    </p:extLst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791509764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190399823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4072654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0B0983-66AA-4D00-B3CE-3213B16F504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951695529"/>
      </p:ext>
    </p:extLst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4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42965103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19883520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080470463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4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4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670649590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86363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511400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693086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340561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91517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23F4F8-992B-4FB6-A60D-757BC1E39E9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44334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108891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95301" y="6356355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fld id="{B5002089-99FD-4D57-A552-A16FF68B221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94972785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134516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694177"/>
      </p:ext>
    </p:extLst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061246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166742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49678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020982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159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A8D317-8840-49B2-A7B1-D3D98E456B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8555864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ja-JP" altLang="en-US" smtClean="0"/>
              <a:t>図を追加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642812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531880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394948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359312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5811617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568816"/>
      </p:ext>
    </p:extLst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811244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5120738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40242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121162"/>
      </p:ext>
    </p:extLst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485131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7385595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989784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122784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349473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603298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5423662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4" y="3284540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4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057544060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44049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65582010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792379"/>
      </p:ext>
    </p:extLst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892833266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01557300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242138710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222303976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4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67122450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755449251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656543896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4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4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91240293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0507744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309651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920709"/>
      </p:ext>
    </p:extLst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072577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56922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4206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2338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2288159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95301" y="6356355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fld id="{B5002089-99FD-4D57-A552-A16FF68B221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62571880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4" y="3284540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4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399168184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00774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504985224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90338894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391875"/>
      </p:ext>
    </p:extLst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97959701"/>
      </p:ext>
    </p:extLst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865630151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951352869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4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03503884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535771234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33907206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4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4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713168991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026320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764728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422615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727044"/>
      </p:ext>
    </p:extLst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892475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5152076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702630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7695935"/>
      </p:ext>
    </p:extLst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95301" y="6356355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3384550" y="6356355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00" y="6356355"/>
            <a:ext cx="2311400" cy="365125"/>
          </a:xfrm>
          <a:prstGeom prst="rect">
            <a:avLst/>
          </a:prstGeom>
        </p:spPr>
        <p:txBody>
          <a:bodyPr/>
          <a:lstStyle/>
          <a:p>
            <a:fld id="{B5002089-99FD-4D57-A552-A16FF68B221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647636825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2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333583420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92324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89837362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97587438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04878102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65190"/>
      </p:ext>
    </p:extLst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87080739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664417567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877951151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281878851"/>
      </p:ext>
    </p:extLst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006515523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93466356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6464091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936183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133189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425071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7452452"/>
      </p:ext>
    </p:extLst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434467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01473992"/>
      </p:ext>
    </p:extLst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95301" y="6356353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B5002089-99FD-4D57-A552-A16FF68B221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972444787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2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62140346"/>
      </p:ext>
    </p:extLst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877105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6465608"/>
      </p:ext>
    </p:extLst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16638545"/>
      </p:ext>
    </p:extLst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784986250"/>
      </p:ext>
    </p:extLst>
  </p:cSld>
  <p:clrMapOvr>
    <a:masterClrMapping/>
  </p:clrMapOvr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12222619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60987776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8489220"/>
      </p:ext>
    </p:extLst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287108226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79608930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690938230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931453008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67079443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123624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75717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334524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399060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97070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6237303"/>
      </p:ext>
    </p:extLst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95301" y="6356353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B5002089-99FD-4D57-A552-A16FF68B221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066985179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タイトル、コンテンツ、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quarter" idx="2"/>
          </p:nvPr>
        </p:nvSpPr>
        <p:spPr>
          <a:xfrm>
            <a:off x="5029200" y="1600200"/>
            <a:ext cx="4381500" cy="2185988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コンテンツ プレースホルダー 4"/>
          <p:cNvSpPr>
            <a:spLocks noGrp="1"/>
          </p:cNvSpPr>
          <p:nvPr>
            <p:ph sz="quarter" idx="3"/>
          </p:nvPr>
        </p:nvSpPr>
        <p:spPr>
          <a:xfrm>
            <a:off x="5029200" y="3938588"/>
            <a:ext cx="4381500" cy="2187575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418163-7DF4-44B7-871F-D3553A50D876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34518760"/>
      </p:ext>
    </p:extLst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2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613406741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889351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046418186"/>
      </p:ext>
    </p:extLst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243014994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095903707"/>
      </p:ext>
    </p:extLst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05337182"/>
      </p:ext>
    </p:extLst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754269848"/>
      </p:ext>
    </p:extLst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89048134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447543"/>
      </p:ext>
    </p:extLst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359903985"/>
      </p:ext>
    </p:extLst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139763038"/>
      </p:ext>
    </p:extLst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014905829"/>
      </p:ext>
    </p:extLst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69057731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232126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2782130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8071026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  <a:prstGeom prst="rect">
            <a:avLst/>
          </a:prstGeom>
        </p:spPr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ea typeface="ＭＳ Ｐゴシック" charset="-128"/>
              </a:defRPr>
            </a:lvl1pPr>
          </a:lstStyle>
          <a:p>
            <a:pPr>
              <a:defRPr/>
            </a:pPr>
            <a:fld id="{FD1AF809-3977-40F5-8DBB-45D696B0DE6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136295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17140360"/>
      </p:ext>
    </p:extLst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smtClean="0"/>
              <a:t>マスタ テキストの書式設定</a:t>
            </a:r>
          </a:p>
          <a:p>
            <a:pPr lvl="1"/>
            <a:r>
              <a:rPr kumimoji="1" lang="ja-JP" altLang="en-US" smtClean="0"/>
              <a:t>第 </a:t>
            </a:r>
            <a:r>
              <a:rPr kumimoji="1" lang="en-US" altLang="ja-JP" smtClean="0"/>
              <a:t>2 </a:t>
            </a:r>
            <a:r>
              <a:rPr kumimoji="1" lang="ja-JP" altLang="en-US" smtClean="0"/>
              <a:t>レベル</a:t>
            </a:r>
          </a:p>
          <a:p>
            <a:pPr lvl="2"/>
            <a:r>
              <a:rPr kumimoji="1" lang="ja-JP" altLang="en-US" smtClean="0"/>
              <a:t>第 </a:t>
            </a:r>
            <a:r>
              <a:rPr kumimoji="1" lang="en-US" altLang="ja-JP" smtClean="0"/>
              <a:t>3 </a:t>
            </a:r>
            <a:r>
              <a:rPr kumimoji="1" lang="ja-JP" altLang="en-US" smtClean="0"/>
              <a:t>レベル</a:t>
            </a:r>
          </a:p>
          <a:p>
            <a:pPr lvl="3"/>
            <a:r>
              <a:rPr kumimoji="1" lang="ja-JP" altLang="en-US" smtClean="0"/>
              <a:t>第 </a:t>
            </a:r>
            <a:r>
              <a:rPr kumimoji="1" lang="en-US" altLang="ja-JP" smtClean="0"/>
              <a:t>4 </a:t>
            </a:r>
            <a:r>
              <a:rPr kumimoji="1" lang="ja-JP" altLang="en-US" smtClean="0"/>
              <a:t>レベル</a:t>
            </a:r>
          </a:p>
          <a:p>
            <a:pPr lvl="4"/>
            <a:r>
              <a:rPr kumimoji="1" lang="ja-JP" altLang="en-US" smtClean="0"/>
              <a:t>第 </a:t>
            </a:r>
            <a:r>
              <a:rPr kumimoji="1" lang="en-US" altLang="ja-JP" smtClean="0"/>
              <a:t>5 </a:t>
            </a:r>
            <a:r>
              <a:rPr kumimoji="1" lang="ja-JP" altLang="en-US" smtClean="0"/>
              <a:t>レベル</a:t>
            </a:r>
            <a:endParaRPr kumimoji="1"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>
          <a:xfrm>
            <a:off x="495301" y="6356353"/>
            <a:ext cx="23114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ja-JP" altLang="en-US"/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B5002089-99FD-4D57-A552-A16FF68B221C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942338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223936"/>
      </p:ext>
    </p:extLst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97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8360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0665756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45414"/>
      </p:ext>
    </p:extLst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70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322361"/>
      </p:ext>
    </p:extLst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3295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38114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522950"/>
      </p:ext>
    </p:extLst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2366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229233"/>
      </p:ext>
    </p:extLst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706863"/>
      </p:ext>
    </p:extLst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651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 dirty="0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1058804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 dirty="0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353104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14353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02687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32311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7581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503563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65364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16381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00060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322616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64642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473532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141828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89475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0073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836989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968763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06968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758651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74601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75242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00908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20147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922379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2991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442471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79232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10689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708645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153216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637183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253000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91701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04171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19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000304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9184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9083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506538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527524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007842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79324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62252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133215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39233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34237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69862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18206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36462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-15479" y="1596"/>
            <a:ext cx="9923199" cy="396875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表プレースホルダー 2"/>
          <p:cNvSpPr>
            <a:spLocks noGrp="1"/>
          </p:cNvSpPr>
          <p:nvPr>
            <p:ph type="tbl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ja-JP" alt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C58CEE-73E8-4CF9-B9B1-B5B525C67F5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78973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4822088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818942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0551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884273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70194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8260210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タイトル、コンテンツ、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quarter" idx="2"/>
          </p:nvPr>
        </p:nvSpPr>
        <p:spPr>
          <a:xfrm>
            <a:off x="5029199" y="1600200"/>
            <a:ext cx="4381501" cy="2185988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コンテンツ プレースホルダ 4"/>
          <p:cNvSpPr>
            <a:spLocks noGrp="1"/>
          </p:cNvSpPr>
          <p:nvPr>
            <p:ph sz="quarter" idx="3"/>
          </p:nvPr>
        </p:nvSpPr>
        <p:spPr>
          <a:xfrm>
            <a:off x="5029199" y="3938589"/>
            <a:ext cx="4381501" cy="2187575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102334-99E9-4455-AE00-6A2276F1763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278919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A3484E-CC68-40F1-92CD-BA2B06F891C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90017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E5DAAC-9388-4D16-9267-BE9D220B648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93113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AECD38-7346-4F62-98EA-48C05A1170D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20468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DDBEFE-4F75-47EB-BE4C-B20160EED48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728814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9A4C8F-6FF7-4CEB-9091-CEFC4AEDED7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05120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5BB608-9D09-4E68-A7C3-CF8022D4090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73593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11A2C-9FAD-4A58-8387-01D72BB7F95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48096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EF827E-EF07-4B1B-BD14-D4A64889E17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82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F7BF7E-311B-4E2A-93D4-5B59C6D1B23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28780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E0BB78-07E0-42B6-9600-5276153CF65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2398150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CA3058-F248-4A8D-9820-9B7B736C9E2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77693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495300" y="1600200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CD9FB0-3E43-4F9F-A36D-7AFB0C877A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62086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F3B60E-F942-4B7E-AC37-F8DCC4F37E9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435584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E691D639-25E2-4742-8CC6-B5A08CE8FB2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9064583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98D6F504-8DFD-4D42-B53B-C91EA710460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230885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86330C0-8959-4F15-9492-04179BCCFF4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59607147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A4974B2D-3D87-463E-8C99-415518A37CC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88181731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0BD9F5F7-485E-4DB3-98A5-AE7DB34799E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563218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6FA2D72C-FA95-4190-AE47-7DE46383500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8107744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F6BBFF13-836A-4648-A5CF-94246F18DFB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9517639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12EEA723-3600-49F7-9000-233E19C291CA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61355246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2463F07-213A-4F1F-8547-7E3E4CBF9786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09221790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D568919F-6DD7-4133-B2BF-A456096F94FC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3938634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6C8677B1-74BF-4D8D-B963-8B854420779B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54662223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495300" y="1600200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9CE0554-F159-445A-AC9E-ED297438608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3822561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E95CD985-232C-4CAF-9EA8-07858A3007CD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91962230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E691D639-25E2-4742-8CC6-B5A08CE8FB2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272694055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98D6F504-8DFD-4D42-B53B-C91EA710460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1872509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86330C0-8959-4F15-9492-04179BCCFF4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32005954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A4974B2D-3D87-463E-8C99-415518A37CC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72036480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0BD9F5F7-485E-4DB3-98A5-AE7DB34799E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0242569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6FA2D72C-FA95-4190-AE47-7DE46383500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06659330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F6BBFF13-836A-4648-A5CF-94246F18DFB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52822687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12EEA723-3600-49F7-9000-233E19C291CA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12718683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2463F07-213A-4F1F-8547-7E3E4CBF9786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575369515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D568919F-6DD7-4133-B2BF-A456096F94FC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312464894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6C8677B1-74BF-4D8D-B963-8B854420779B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8158489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495300" y="1600200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9CE0554-F159-445A-AC9E-ED297438608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014386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E95CD985-232C-4CAF-9EA8-07858A3007CD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12859231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3450083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464640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512410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87255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29833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34400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71770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81939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5887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503659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79233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0900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337513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681184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81556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6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126B8DEF-4FAE-4209-8C14-EEDE3E7F1EBC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8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5584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8341F6E-C57A-47B2-982D-6DD6692FFF1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980686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FF8C1B-F0FF-4B7D-97E6-FF02B046B16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75778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F039566-C2EF-4FB3-8E5E-B8D3A4E190D1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20847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19A297-6FE5-4626-BDFD-722DC17707EE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931553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10B9331-4A48-4F34-B073-E2A5CD1E8CE3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512514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0EB9E85-BCEE-4B48-9843-7992F48775B3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6120832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E6061F9-31ED-4340-AEA2-234E063FC0B3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08891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4E5F7C-A97B-4ADC-85C3-D62309319BE6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45233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580ED3-60FF-4D0B-A38B-AD46C43E429C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149488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059DB95-7563-4362-B03E-367AE577CD07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15460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E691D639-25E2-4742-8CC6-B5A08CE8FB2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11221617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98D6F504-8DFD-4D42-B53B-C91EA710460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53923190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86330C0-8959-4F15-9492-04179BCCFF4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939489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2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F6946-716B-4B49-BFB6-BCCD53FDDF1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A4974B2D-3D87-463E-8C99-415518A37CC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30444043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0BD9F5F7-485E-4DB3-98A5-AE7DB34799E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91893713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6FA2D72C-FA95-4190-AE47-7DE46383500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082552028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F6BBFF13-836A-4648-A5CF-94246F18DFB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6228139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12EEA723-3600-49F7-9000-233E19C291CA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64508306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2463F07-213A-4F1F-8547-7E3E4CBF9786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6905351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D568919F-6DD7-4133-B2BF-A456096F94FC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39276945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6C8677B1-74BF-4D8D-B963-8B854420779B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96038076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495300" y="1600200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9CE0554-F159-445A-AC9E-ED297438608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299738224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E95CD985-232C-4CAF-9EA8-07858A3007CD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1308262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059F97-1B15-44F5-B977-090BC23D2DA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2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 smtClean="0"/>
              <a:t>マスター サブタイトルの書式設定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194585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027495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97" indent="0">
              <a:buNone/>
              <a:defRPr sz="1800"/>
            </a:lvl2pPr>
            <a:lvl3pPr marL="914395" indent="0">
              <a:buNone/>
              <a:defRPr sz="1600"/>
            </a:lvl3pPr>
            <a:lvl4pPr marL="1371592" indent="0">
              <a:buNone/>
              <a:defRPr sz="1400"/>
            </a:lvl4pPr>
            <a:lvl5pPr marL="1828789" indent="0">
              <a:buNone/>
              <a:defRPr sz="1400"/>
            </a:lvl5pPr>
            <a:lvl6pPr marL="2285987" indent="0">
              <a:buNone/>
              <a:defRPr sz="1400"/>
            </a:lvl6pPr>
            <a:lvl7pPr marL="2743184" indent="0">
              <a:buNone/>
              <a:defRPr sz="1400"/>
            </a:lvl7pPr>
            <a:lvl8pPr marL="3200381" indent="0">
              <a:buNone/>
              <a:defRPr sz="1400"/>
            </a:lvl8pPr>
            <a:lvl9pPr marL="3657579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5917579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74427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7" indent="0">
              <a:buNone/>
              <a:defRPr sz="2000" b="1"/>
            </a:lvl2pPr>
            <a:lvl3pPr marL="914395" indent="0">
              <a:buNone/>
              <a:defRPr sz="1800" b="1"/>
            </a:lvl3pPr>
            <a:lvl4pPr marL="1371592" indent="0">
              <a:buNone/>
              <a:defRPr sz="1600" b="1"/>
            </a:lvl4pPr>
            <a:lvl5pPr marL="1828789" indent="0">
              <a:buNone/>
              <a:defRPr sz="1600" b="1"/>
            </a:lvl5pPr>
            <a:lvl6pPr marL="2285987" indent="0">
              <a:buNone/>
              <a:defRPr sz="1600" b="1"/>
            </a:lvl6pPr>
            <a:lvl7pPr marL="2743184" indent="0">
              <a:buNone/>
              <a:defRPr sz="1600" b="1"/>
            </a:lvl7pPr>
            <a:lvl8pPr marL="3200381" indent="0">
              <a:buNone/>
              <a:defRPr sz="1600" b="1"/>
            </a:lvl8pPr>
            <a:lvl9pPr marL="3657579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23522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522856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526771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4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3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97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4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29433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97" indent="0">
              <a:buNone/>
              <a:defRPr sz="2800"/>
            </a:lvl2pPr>
            <a:lvl3pPr marL="914395" indent="0">
              <a:buNone/>
              <a:defRPr sz="2400"/>
            </a:lvl3pPr>
            <a:lvl4pPr marL="1371592" indent="0">
              <a:buNone/>
              <a:defRPr sz="2000"/>
            </a:lvl4pPr>
            <a:lvl5pPr marL="1828789" indent="0">
              <a:buNone/>
              <a:defRPr sz="2000"/>
            </a:lvl5pPr>
            <a:lvl6pPr marL="2285987" indent="0">
              <a:buNone/>
              <a:defRPr sz="2000"/>
            </a:lvl6pPr>
            <a:lvl7pPr marL="2743184" indent="0">
              <a:buNone/>
              <a:defRPr sz="2000"/>
            </a:lvl7pPr>
            <a:lvl8pPr marL="3200381" indent="0">
              <a:buNone/>
              <a:defRPr sz="2000"/>
            </a:lvl8pPr>
            <a:lvl9pPr marL="3657579" indent="0">
              <a:buNone/>
              <a:defRPr sz="2000"/>
            </a:lvl9pPr>
          </a:lstStyle>
          <a:p>
            <a:pPr lvl="0"/>
            <a:r>
              <a:rPr lang="ja-JP" altLang="en-US" noProof="0" smtClean="0"/>
              <a:t>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97" indent="0">
              <a:buNone/>
              <a:defRPr sz="1200"/>
            </a:lvl2pPr>
            <a:lvl3pPr marL="914395" indent="0">
              <a:buNone/>
              <a:defRPr sz="1000"/>
            </a:lvl3pPr>
            <a:lvl4pPr marL="1371592" indent="0">
              <a:buNone/>
              <a:defRPr sz="900"/>
            </a:lvl4pPr>
            <a:lvl5pPr marL="1828789" indent="0">
              <a:buNone/>
              <a:defRPr sz="900"/>
            </a:lvl5pPr>
            <a:lvl6pPr marL="2285987" indent="0">
              <a:buNone/>
              <a:defRPr sz="900"/>
            </a:lvl6pPr>
            <a:lvl7pPr marL="2743184" indent="0">
              <a:buNone/>
              <a:defRPr sz="900"/>
            </a:lvl7pPr>
            <a:lvl8pPr marL="3200381" indent="0">
              <a:buNone/>
              <a:defRPr sz="900"/>
            </a:lvl8pPr>
            <a:lvl9pPr marL="3657579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582774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9874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77EDC-8661-40B2-B777-69FBBB550E6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6553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2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173936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68015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620A07F6-F888-4958-8C19-9093855DB7B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53235428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F8D1A0C0-1735-4F1C-9DA7-F69578D8574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10482213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96CEF0F9-65EC-48DA-B7DC-4F14658F957D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995477656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EF1878ED-A11E-4176-AED8-9183440A3BA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3167195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279BF4D-DF5D-4488-8793-35CA534938E5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597242621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42A2440-2BBE-41C7-88E1-E0BC96C35E4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80041493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688F8B6-198A-4D1F-B37A-773A5787807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2289503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1BF4C-4659-49C8-BD16-E7E561248D4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E9F7E18-06E2-42D9-B77C-317ED59A269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3479624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5586725-9EDA-4401-AC27-696F931F107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9384615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8E4C630-7A8A-457D-A4CD-FDD4F35C3F9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71933351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BA13D9A-F6C8-4ECB-9485-68BAC466A37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186775678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864417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48156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D688EB-AAD2-4D75-B846-AEEE14CEC94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662031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87406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5BC70-FA7B-4294-9407-7D831E2620E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909205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B91FFC-4712-4403-B14F-65B4292339A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5970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2A034B-275D-4875-95AF-61A542FE7AB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D6A6C-8CFC-4569-AAE2-C9E9C43E822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254901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B3383-B952-447B-9C5E-1900D707C2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06510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BF862-F8CF-4645-B5BC-AB0B0FF1A33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730178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41DE-1218-4884-9D22-7935396BCF0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99321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49A1BA-81F0-40BD-B1AB-79BF2138513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51887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C61071-CD67-49B9-ADBD-65B9335A768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896481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8979AD-707B-404B-9B5B-F1DD9BCAD67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948487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BE60E8D-CEDF-4B73-94F4-48BC2A3207D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562160595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2E97B33-0ABD-4898-A053-740079B14411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64246416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67B1CB5-24C9-4D97-9987-40F9A2FAE9E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938512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C11AFD-6447-4AD7-A815-F78ABFD4AD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5BC54E2-A0F3-4EDE-B3DB-E6EC499DAA2D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1830839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68F94C1-EE94-407F-B4D9-6102C7BAAACE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68123901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925FA68-18F9-4404-9057-356D7387349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2366237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64E3B49-7F76-4708-B824-CA9717E4F64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87802239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67A5E66-9CDB-4D37-B005-F48D309E1B8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279055929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46AC9D5-DA0E-4FAF-B518-86DA6F4DE6C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5341949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E7BC157-47FC-42C6-91DD-69DAF078591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195937246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1C2C6CA-1C61-4B0D-9D25-22466B0567F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87284377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9053D8B-89DD-4182-82DA-4539A3C87CEF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869359706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566537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B1E682-E6DE-44C3-BDF2-88EF9B2433C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0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1ADD2-ACA3-4002-AA58-ADF727826A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179840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AD9F4-F187-4098-A3BE-47C05B039AC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520222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3A5F9A-4CD9-4217-B7B4-82600C52F24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144703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4219A8-49CC-4E85-A76C-B1F57241365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773584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85D100-531E-496A-9699-A8C8F72918F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222746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C7C596-9DB3-42B5-9A73-DFADB10AE8C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33360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73809-7366-41EA-A5B7-0CB3E24E32F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231391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3A5EF-C88D-4D99-954E-C5F3C40A737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93107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DDE02-E984-4B97-B3B8-D52C90CEE7E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466391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728B96-7CAA-4432-A986-26E247EA845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231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77E5C-A48B-47A4-8813-58A1D458A11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6805C1-E3A7-49DB-9E5C-489CE65B5C3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254832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6D96D1-B20F-4362-B887-E6793782155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41562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764233-5231-4BB3-864E-7369979C153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5736489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7831A5-6529-4C27-8643-527E381946C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882544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778854-6AC8-4ACB-9D4B-318D5038A89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19594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E58816-8315-46BD-82DC-E2EE128B981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33455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63FE83-20DA-48C3-B581-DF2DEC9B4FC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01049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96331-4B3E-4AF7-8970-BE8FEAB1474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835430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EA60F-BDDD-47BC-A38D-04DB16E202E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295450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0B0983-66AA-4D00-B3CE-3213B16F504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5243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26016B-CAC8-4068-90AC-F53A2AA3B7E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23F4F8-992B-4FB6-A60D-757BC1E39E9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535960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AA8D317-8840-49B2-A7B1-D3D98E456B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529474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D7032178-FE8F-41BD-A079-F99DB9DE5B2A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4420235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6C0E4C0D-0EF8-4872-A1D5-4A3874AEAB0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342482077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B106D4D-26F3-474D-B383-5E7EBD1E842D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659475014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3AFB10D-98FC-4095-94E1-6B7A8BF48566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454663907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41930B8-74A5-4094-BD88-B73CAC1529B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09056721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4ABAF2F-0D36-44D2-8E97-127B4EF59A5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80915614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2F270145-821A-4EEC-8868-BC26BE691410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2721101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9B3335FD-EF76-43EF-B264-C2A3B274592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5090555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58E60-1722-4373-BF8F-82CC8665739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9AA61B9-2DBF-495C-A176-6539D0EEEFA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60847371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A39649A-58D4-4158-B35A-DE59B798526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5094398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D339F2B-8FAA-4EB1-B5E8-350E51CE8A9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18048017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37544D07-3C71-4F25-9AE1-233ECC8C0304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49360891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2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2BA034-5B80-4014-857B-6932FA26AAB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4563434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6A57-9126-429E-8175-B00E62E49D2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072238980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EEB25D-4B7B-45DF-AF0B-DD05B66E500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83520463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738E0-AA69-4F43-B9A6-13A7429D5D8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19997076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E6827B-6603-4E8F-A75C-7326A508D00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36914647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21A423-255B-455A-8ED2-D156A8000B9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3870522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284455-B718-4EE3-9183-2687F992C5C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79DA99-0E67-4C48-80C0-A0C85A2018A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3279653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E32308-BF15-4D49-A9FF-41B73CC3B79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010971974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F00BF-2221-4371-8541-200D6158E4A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781758546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1318C2-29BE-4E58-A0EE-7EF2BC4E7ED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09360365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50946B-B93A-4D9E-AA67-9B0BB02C797C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820944169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80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F6946-716B-4B49-BFB6-BCCD53FDDF1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761315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059F97-1B15-44F5-B977-090BC23D2DA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807902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2041" indent="0">
              <a:buNone/>
              <a:defRPr sz="1662"/>
            </a:lvl2pPr>
            <a:lvl3pPr marL="844083" indent="0">
              <a:buNone/>
              <a:defRPr sz="1477"/>
            </a:lvl3pPr>
            <a:lvl4pPr marL="1266124" indent="0">
              <a:buNone/>
              <a:defRPr sz="1292"/>
            </a:lvl4pPr>
            <a:lvl5pPr marL="1688165" indent="0">
              <a:buNone/>
              <a:defRPr sz="1292"/>
            </a:lvl5pPr>
            <a:lvl6pPr marL="2110207" indent="0">
              <a:buNone/>
              <a:defRPr sz="1292"/>
            </a:lvl6pPr>
            <a:lvl7pPr marL="2532248" indent="0">
              <a:buNone/>
              <a:defRPr sz="1292"/>
            </a:lvl7pPr>
            <a:lvl8pPr marL="2954289" indent="0">
              <a:buNone/>
              <a:defRPr sz="1292"/>
            </a:lvl8pPr>
            <a:lvl9pPr marL="3376331" indent="0">
              <a:buNone/>
              <a:defRPr sz="129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77EDC-8661-40B2-B777-69FBBB550E6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164985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1BF4C-4659-49C8-BD16-E7E561248D4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913228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2A034B-275D-4875-95AF-61A542FE7AB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7050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77D1-B84C-43E8-A6CB-74600305890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C11AFD-6447-4AD7-A815-F78ABFD4AD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763730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B1E682-E6DE-44C3-BDF2-88EF9B2433C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5008641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77E5C-A48B-47A4-8813-58A1D458A11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44911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26016B-CAC8-4068-90AC-F53A2AA3B7E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241494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58E60-1722-4373-BF8F-82CC8665739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673102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284455-B718-4EE3-9183-2687F992C5C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15397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2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77D1-B84C-43E8-A6CB-74600305890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615026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90774990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77789879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6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91AB9C82-620C-4093-AE7F-2E1B2CB07299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8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3926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2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7F3A61-FF75-480F-ADB9-D66F6206CD02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8682352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2041" indent="0">
              <a:buNone/>
              <a:defRPr sz="1662"/>
            </a:lvl2pPr>
            <a:lvl3pPr marL="844083" indent="0">
              <a:buNone/>
              <a:defRPr sz="1477"/>
            </a:lvl3pPr>
            <a:lvl4pPr marL="1266124" indent="0">
              <a:buNone/>
              <a:defRPr sz="1292"/>
            </a:lvl4pPr>
            <a:lvl5pPr marL="1688165" indent="0">
              <a:buNone/>
              <a:defRPr sz="1292"/>
            </a:lvl5pPr>
            <a:lvl6pPr marL="2110207" indent="0">
              <a:buNone/>
              <a:defRPr sz="1292"/>
            </a:lvl6pPr>
            <a:lvl7pPr marL="2532248" indent="0">
              <a:buNone/>
              <a:defRPr sz="1292"/>
            </a:lvl7pPr>
            <a:lvl8pPr marL="2954289" indent="0">
              <a:buNone/>
              <a:defRPr sz="1292"/>
            </a:lvl8pPr>
            <a:lvl9pPr marL="3376331" indent="0">
              <a:buNone/>
              <a:defRPr sz="129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8B4DDAA-6D54-403F-B082-7B66D9B8E7FA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5441890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F79B24-E83B-401D-AB58-A545C49D1E96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521588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09A747-1EDB-49E1-8332-8F1380D63597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01778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DB821B-EFFB-442B-BA68-ED7011F52C2D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088711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479040F-837A-4D4F-ACAA-7927D8B1374B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555922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2900EB-64E1-43BE-87EA-24026C00C906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4218208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8CD047-ED07-4E38-A497-32429E2D24D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85766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46FF94-3D0B-4A34-9E62-D4B51F54945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85395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7DFBD4-BCAD-43B5-AE4D-4C4D63EB6BEC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53297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2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E3F73DB3-72AF-425A-B2AB-E5B9588FC62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944765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内容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7"/>
          <p:cNvSpPr>
            <a:spLocks noChangeArrowheads="1"/>
          </p:cNvSpPr>
          <p:nvPr userDrawn="1"/>
        </p:nvSpPr>
        <p:spPr bwMode="auto">
          <a:xfrm>
            <a:off x="116946" y="452438"/>
            <a:ext cx="9706504" cy="65087"/>
          </a:xfrm>
          <a:prstGeom prst="parallelogram">
            <a:avLst>
              <a:gd name="adj" fmla="val 118540"/>
            </a:avLst>
          </a:prstGeom>
          <a:solidFill>
            <a:srgbClr val="CC003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366" tIns="42185" rIns="84366" bIns="42185" anchor="ctr"/>
          <a:lstStyle>
            <a:lvl1pPr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ja-JP" sz="180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" name="AutoShape 9"/>
          <p:cNvSpPr>
            <a:spLocks noChangeArrowheads="1"/>
          </p:cNvSpPr>
          <p:nvPr userDrawn="1"/>
        </p:nvSpPr>
        <p:spPr bwMode="auto">
          <a:xfrm>
            <a:off x="116947" y="204788"/>
            <a:ext cx="624285" cy="311150"/>
          </a:xfrm>
          <a:prstGeom prst="parallelogram">
            <a:avLst>
              <a:gd name="adj" fmla="val 49491"/>
            </a:avLst>
          </a:prstGeom>
          <a:solidFill>
            <a:srgbClr val="D000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84366" tIns="42185" rIns="84366" bIns="42185" anchor="ctr"/>
          <a:lstStyle>
            <a:lvl1pPr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ja-JP" sz="1800" smtClean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7718425" y="6551616"/>
            <a:ext cx="2228850" cy="365125"/>
          </a:xfrm>
        </p:spPr>
        <p:txBody>
          <a:bodyPr/>
          <a:lstStyle>
            <a:lvl1pPr>
              <a:defRPr sz="923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>
              <a:defRPr/>
            </a:pPr>
            <a:fld id="{684832B1-FC2F-408D-8659-6491CF6EDCBF}" type="slidenum">
              <a:rPr lang="ja-JP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72002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 smtClean="0"/>
              <a:t>マスタ サブタイトルの書式設定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60683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650393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901593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329354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473997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9536055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202177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4534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864647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 smtClean="0"/>
              <a:t>アイコンをクリックして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352795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977508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460420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/>
          <a:p>
            <a:pPr lvl="0"/>
            <a:r>
              <a:rPr lang="ja-JP" altLang="en-US" noProof="0" smtClean="0"/>
              <a:t>アイコンをクリックしてクリップ アートを追加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646128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6F90E-A0AE-4C05-BFE5-E3FDE24380B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988559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 smtClean="0"/>
              <a:t>マスタ サブタイトルの書式設定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47054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8607201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771335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079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3322974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6159295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3273799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6705899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5434003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 smtClean="0"/>
              <a:t>アイコンをクリックして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622785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592328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940864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/>
          <a:p>
            <a:pPr lvl="0"/>
            <a:r>
              <a:rPr lang="ja-JP" altLang="en-US" noProof="0" smtClean="0"/>
              <a:t>アイコンをクリックしてクリップ アートを追加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0390077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96F90E-A0AE-4C05-BFE5-E3FDE24380B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5537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C22DFED3-B839-46C0-8C8D-25455944A50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916258779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7A20FA4B-9E59-40F4-9DDF-0DCE07C1BA6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974904798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9F4DFD2-F79C-4C1C-A0E4-BD2F1E66DACE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547488289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F98713F1-911E-43F7-81F3-584BD890398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658461019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49DAE920-C10A-45FB-B03A-6F83C5E2F137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024960716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03B1C47-5282-4E03-94A4-635BDEC58C9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056648437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681F1BC-F14D-46A5-9ED8-0EDDE1294F21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97428873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2819A5D-9147-41B3-87B9-B9CB27A0FD53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2689376175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dirty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52CD5E7D-55B7-4BAE-83C9-BCC08A7FD628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421375847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0DF5F945-9100-4B46-931F-2D1AEB09628C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0110647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83E80516-5849-458D-A6FB-BAE7AA521E9B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3842873041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A7D38349-EFD3-4525-92C6-37E7B34B8DE9}" type="slidenum">
              <a:rPr lang="en-US" altLang="ja-JP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418264195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477656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9364B-5F23-4D2D-A15E-D75B544428D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86459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 smtClean="0"/>
              <a:t>マスター サブタイトルの書式設定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30017-9609-4D2E-9D45-2F26126E426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576823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56E018-A899-468C-BAEC-B3288C2593D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883259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FED8F-F141-4B48-B896-773EC363767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06591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55CF23-40A3-40BC-834D-023BA74B6C0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6041904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67CC96-C132-4951-9E41-C7ED79D2AF1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243528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8B1D2-3202-4061-ACAB-7904D4E236E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9061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B90E89-A2BE-47B1-A0C2-771B5AFF7F4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80517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CDCED5-CFF7-4BED-B003-778E0DD1CBA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0573935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E978A0-0779-408A-990A-15C7834CCC0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73269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 smtClean="0"/>
              <a:t>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0D0DFA-7D6C-4B91-BC1A-1A440811B01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045283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04114-863F-4171-8E9A-E27FF9FF3E1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1434556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857D4E-190E-4C49-A011-FF1D7874CCA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759803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/>
          <a:p>
            <a:pPr lvl="0"/>
            <a:r>
              <a:rPr lang="ja-JP" altLang="en-US" noProof="0" smtClean="0"/>
              <a:t>オンライン画像を追加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EE99E3-707C-4687-AD2B-0279F82F4D3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339675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42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119A2A-6EF6-42CB-A101-BACC1BD418A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028400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CDF24C-EE16-4A76-BFA7-E2E0E06465C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2497392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64B71F-46AB-4E7C-8E94-664E6466B4E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5899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97BC79-D52B-4773-B6A2-F4E63198758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114826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E9C24E-BD50-4C8C-A61F-0D2897BCCC9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184876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9364B-5F23-4D2D-A15E-D75B544428D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6768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79C00B-E920-4DDD-AEE9-F7359EDE01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254041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78CD68-3882-4904-A54A-5FDE63652EE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244417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F90A6A-1DEE-48D0-8502-80F8E4A9BA8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107123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D6A50E-6EC6-4313-AE9C-DD55B43FF7D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112505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509119-C4F5-448D-86C1-E8CD905AD79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720790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5CC6C3-4800-485F-A260-18FF502724D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425561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7827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501420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366904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185694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34367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1966074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682826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309918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839845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2130409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35234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471639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522862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507944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259023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4696066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91198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644859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93918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890160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51690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718073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497287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815400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181812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731216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 smtClean="0"/>
              <a:t>マスタ サブタイトルの書式設定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429491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153716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7918278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321772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7422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842578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643410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431954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1364224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 smtClean="0"/>
              <a:t>アイコンをクリックして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780585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098385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7772712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/>
          <a:p>
            <a:pPr lvl="0"/>
            <a:r>
              <a:rPr lang="ja-JP" altLang="en-US" noProof="0" smtClean="0"/>
              <a:t>アイコンをクリックしてクリップ アートを追加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001720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D688EB-AAD2-4D75-B846-AEEE14CEC94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554080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821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2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5BC70-FA7B-4294-9407-7D831E2620E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952267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B91FFC-4712-4403-B14F-65B4292339A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05260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D6A6C-8CFC-4569-AAE2-C9E9C43E822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939720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B3383-B952-447B-9C5E-1900D707C2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932971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BF862-F8CF-4645-B5BC-AB0B0FF1A33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133241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41DE-1218-4884-9D22-7935396BCF0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280511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49A1BA-81F0-40BD-B1AB-79BF2138513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378201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C61071-CD67-49B9-ADBD-65B9335A768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698131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8979AD-707B-404B-9B5B-F1DD9BCAD67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289684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077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711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1361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478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183921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5469796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062140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773020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235749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936939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61395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8496224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5974809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3747757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79326696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-15479" y="1596"/>
            <a:ext cx="9923199" cy="396875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表プレースホルダー 2"/>
          <p:cNvSpPr>
            <a:spLocks noGrp="1"/>
          </p:cNvSpPr>
          <p:nvPr>
            <p:ph type="tbl" idx="1"/>
          </p:nvPr>
        </p:nvSpPr>
        <p:spPr>
          <a:xfrm>
            <a:off x="495300" y="1600206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endParaRPr lang="ja-JP" alt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C58CEE-73E8-4CF9-B9B1-B5B525C67F5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980644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A11C3-7780-4AA5-A4ED-66683BC109F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941048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4833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B57B5D-BD9A-489B-94A1-21EC468D984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5685633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7E51A-0027-49EA-B69C-A038F1249B8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0454148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2EA6CE-4CF3-49FC-8D74-E093E7B2045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867731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73D311-5786-432B-9A87-E9E1D88BB22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010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74B8F5-1EC3-463F-BDEB-BA44C35200D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988971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A25FC9-F0FC-4D2A-85EE-DF55D4CC158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162345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DA28C6-5B46-4DBE-B8B8-FB4E95346DB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661028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69CF05-A790-4F7D-A5CD-2528C7E7AD9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956431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B86A5-E3AD-4A6D-9CCC-19074A0800D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812395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9333C1-F9D8-44DF-9D03-020ACF36D16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899204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6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91AB9C82-620C-4093-AE7F-2E1B2CB07299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8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30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7F3A61-FF75-480F-ADB9-D66F6206CD02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36238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8B4DDAA-6D54-403F-B082-7B66D9B8E7FA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29045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F79B24-E83B-401D-AB58-A545C49D1E96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77386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09A747-1EDB-49E1-8332-8F1380D63597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851262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DB821B-EFFB-442B-BA68-ED7011F52C2D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306958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479040F-837A-4D4F-ACAA-7927D8B1374B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598589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2900EB-64E1-43BE-87EA-24026C00C906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4609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8CD047-ED07-4E38-A497-32429E2D24D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6911945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46FF94-3D0B-4A34-9E62-D4B51F54945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2843756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7DFBD4-BCAD-43B5-AE4D-4C4D63EB6BEC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176001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E3F73DB3-72AF-425A-B2AB-E5B9588FC62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816785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95D3A6-B0CC-4C0C-8436-04EB7F23EC3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978560160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CE07F6-A1EC-41AA-AD7A-403B8F061DF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7205595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1FCF7A-4D3A-432A-B112-8FFC1D1EF3FC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691652638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46A51-6D3D-443F-A71C-AFA148DFE9A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047497995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7CDA3D-2C87-4B20-AD0D-D41478C475E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655579887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BF369-1717-46A9-A702-18ADCF834E3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646944338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8A8C9-F23D-4E4A-AB3C-7D633ECDD5EB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20792970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0B455-91E6-499A-A330-849C3EF48C0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02899957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401597-4A82-44A2-ADD4-A39A40C8F82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91692968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54AB54-87D1-437D-9447-387F5AE7972D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179774083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75B9CF-8F71-45EA-AFC3-F6BE6DDE84B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62914162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2EBC35-17D8-429C-BC80-03185E29122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66466440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95D3A6-B0CC-4C0C-8436-04EB7F23EC3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884155029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CE07F6-A1EC-41AA-AD7A-403B8F061DF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876482865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1FCF7A-4D3A-432A-B112-8FFC1D1EF3FC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57786692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46A51-6D3D-443F-A71C-AFA148DFE9A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591656889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7CDA3D-2C87-4B20-AD0D-D41478C475E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267836436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BF369-1717-46A9-A702-18ADCF834E3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337443533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8A8C9-F23D-4E4A-AB3C-7D633ECDD5EB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44188637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0B455-91E6-499A-A330-849C3EF48C0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994778677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401597-4A82-44A2-ADD4-A39A40C8F82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782618511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54AB54-87D1-437D-9447-387F5AE7972D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50707038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75B9CF-8F71-45EA-AFC3-F6BE6DDE84B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723867898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2EBC35-17D8-429C-BC80-03185E29122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639528502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D688EB-AAD2-4D75-B846-AEEE14CEC94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3769895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918208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5BC70-FA7B-4294-9407-7D831E2620E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214267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B91FFC-4712-4403-B14F-65B4292339A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303003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D6A6C-8CFC-4569-AAE2-C9E9C43E822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245614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B3383-B952-447B-9C5E-1900D707C2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599235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BF862-F8CF-4645-B5BC-AB0B0FF1A33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909725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41DE-1218-4884-9D22-7935396BCF0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76269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49A1BA-81F0-40BD-B1AB-79BF2138513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516134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C61071-CD67-49B9-ADBD-65B9335A768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666464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8979AD-707B-404B-9B5B-F1DD9BCAD67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4730217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76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31749" name="Rectangle 5"/>
          <p:cNvSpPr>
            <a:spLocks noGrp="1" noChangeArrowheads="1"/>
          </p:cNvSpPr>
          <p:nvPr>
            <p:ph type="dt" sz="half" idx="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3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4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91AB9C82-620C-4093-AE7F-2E1B2CB07299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1758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65168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7F3A61-FF75-480F-ADB9-D66F6206CD02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245496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8B4DDAA-6D54-403F-B082-7B66D9B8E7FA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79266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F79B24-E83B-401D-AB58-A545C49D1E96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823565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709A747-1EDB-49E1-8332-8F1380D63597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44266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DB821B-EFFB-442B-BA68-ED7011F52C2D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826989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479040F-837A-4D4F-ACAA-7927D8B1374B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80527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32900EB-64E1-43BE-87EA-24026C00C906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435860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68CD047-ED07-4E38-A497-32429E2D24D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455323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D46FF94-3D0B-4A34-9E62-D4B51F54945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3712904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D7DFBD4-BCAD-43B5-AE4D-4C4D63EB6BEC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140627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>
          <a:xfrm>
            <a:off x="495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>
          <a:xfrm>
            <a:off x="3384550" y="6245225"/>
            <a:ext cx="3136900" cy="476250"/>
          </a:xfrm>
        </p:spPr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>
          <a:xfrm>
            <a:off x="7594600" y="6237288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E3F73DB3-72AF-425A-B2AB-E5B9588FC625}" type="slidenum">
              <a:rPr lang="en-US" altLang="ja-JP">
                <a:solidFill>
                  <a:srgbClr val="000000"/>
                </a:solidFill>
              </a:rPr>
              <a:pPr/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314921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495300" y="1600202"/>
            <a:ext cx="8915400" cy="4525963"/>
          </a:xfrm>
        </p:spPr>
        <p:txBody>
          <a:bodyPr/>
          <a:lstStyle/>
          <a:p>
            <a:pPr lvl="0"/>
            <a:endParaRPr lang="ja-JP" altLang="en-US" noProof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B20D1-0AC6-46C3-9A7D-D5DFBECE63E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820231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0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1ADD2-ACA3-4002-AA58-ADF727826A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964947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AD9F4-F187-4098-A3BE-47C05B039AC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420749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3A5F9A-4CD9-4217-B7B4-82600C52F24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61184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4219A8-49CC-4E85-A76C-B1F57241365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56438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85D100-531E-496A-9699-A8C8F72918F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0098077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C7C596-9DB3-42B5-9A73-DFADB10AE8C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094432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73809-7366-41EA-A5B7-0CB3E24E32F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974391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3A5EF-C88D-4D99-954E-C5F3C40A737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523483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DDE02-E984-4B97-B3B8-D52C90CEE7E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576675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728B96-7CAA-4432-A986-26E247EA845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8917038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6805C1-E3A7-49DB-9E5C-489CE65B5C3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7941779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0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1ADD2-ACA3-4002-AA58-ADF727826A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191590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AD9F4-F187-4098-A3BE-47C05B039AC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937788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3A5F9A-4CD9-4217-B7B4-82600C52F24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114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4219A8-49CC-4E85-A76C-B1F57241365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7691399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85D100-531E-496A-9699-A8C8F72918F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257432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C7C596-9DB3-42B5-9A73-DFADB10AE8C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053779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73809-7366-41EA-A5B7-0CB3E24E32F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07308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3A5EF-C88D-4D99-954E-C5F3C40A737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644282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DDE02-E984-4B97-B3B8-D52C90CEE7E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748008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728B96-7CAA-4432-A986-26E247EA845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709825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6805C1-E3A7-49DB-9E5C-489CE65B5C3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882649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0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1ADD2-ACA3-4002-AA58-ADF727826A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239903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AD9F4-F187-4098-A3BE-47C05B039AC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39219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600" b="1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9AED94-F4EA-44F5-B772-66A8188DF69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3A5F9A-4CD9-4217-B7B4-82600C52F24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3602644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4219A8-49CC-4E85-A76C-B1F57241365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972755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85D100-531E-496A-9699-A8C8F72918F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875387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C7C596-9DB3-42B5-9A73-DFADB10AE8C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815232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73809-7366-41EA-A5B7-0CB3E24E32F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8536953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3A5EF-C88D-4D99-954E-C5F3C40A737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727467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DDE02-E984-4B97-B3B8-D52C90CEE7E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056211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728B96-7CAA-4432-A986-26E247EA845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491391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6805C1-E3A7-49DB-9E5C-489CE65B5C3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418949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5938" y="2133600"/>
            <a:ext cx="8120062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1536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61ADD2-ACA3-4002-AA58-ADF727826A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94018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20F9D1-3866-4F69-BD89-B52CFA4FB9B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FAD9F4-F187-4098-A3BE-47C05B039AC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178115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3A5F9A-4CD9-4217-B7B4-82600C52F24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085593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4219A8-49CC-4E85-A76C-B1F57241365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005208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85D100-531E-496A-9699-A8C8F72918F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363641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C7C596-9DB3-42B5-9A73-DFADB10AE8C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408371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D73809-7366-41EA-A5B7-0CB3E24E32F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579340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B3A5EF-C88D-4D99-954E-C5F3C40A737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591221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9DDE02-E984-4B97-B3B8-D52C90CEE7E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699507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728B96-7CAA-4432-A986-26E247EA845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436996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6805C1-E3A7-49DB-9E5C-489CE65B5C3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77527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93BECC-5145-421F-8E35-CA2234EC0D9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42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E1119A2A-6EF6-42CB-A101-BACC1BD418A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124787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CDF24C-EE16-4A76-BFA7-E2E0E06465C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414983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64B71F-46AB-4E7C-8E94-664E6466B4E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9752883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97BC79-D52B-4773-B6A2-F4E63198758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473038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E9C24E-BD50-4C8C-A61F-0D2897BCCC9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49825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59364B-5F23-4D2D-A15E-D75B544428D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950180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79C00B-E920-4DDD-AEE9-F7359EDE01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696559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78CD68-3882-4904-A54A-5FDE63652EE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92320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F90A6A-1DEE-48D0-8502-80F8E4A9BA8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822256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D6A50E-6EC6-4313-AE9C-DD55B43FF7D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416532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6A8619-B96C-4385-B9B8-FD993E005D04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509119-C4F5-448D-86C1-E8CD905AD79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4311979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5CC6C3-4800-485F-A260-18FF502724D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403494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002355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247220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968975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3233088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213069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063475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864691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6847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374CE6-AF1E-4EB0-86E9-F2D1B52219C6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3147466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819850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783790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728579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30017-9609-4D2E-9D45-2F26126E426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055216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56E018-A899-468C-BAEC-B3288C2593D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314337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FED8F-F141-4B48-B896-773EC363767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728024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55CF23-40A3-40BC-834D-023BA74B6C0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345071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67CC96-C132-4951-9E41-C7ED79D2AF1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880313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8B1D2-3202-4061-ACAB-7904D4E236E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44297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F16D50-D787-4DA4-AC10-A0446105CC5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B90E89-A2BE-47B1-A0C2-771B5AFF7F4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078179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CDCED5-CFF7-4BED-B003-778E0DD1CBA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4243240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E978A0-0779-408A-990A-15C7834CCC0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378731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0D0DFA-7D6C-4B91-BC1A-1A440811B01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404623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04114-863F-4171-8E9A-E27FF9FF3E1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0575208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857D4E-190E-4C49-A011-FF1D7874CCA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202256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EE99E3-707C-4687-AD2B-0279F82F4D3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776791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A11C3-7780-4AA5-A4ED-66683BC109F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510459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4833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B57B5D-BD9A-489B-94A1-21EC468D984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632248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7E51A-0027-49EA-B69C-A038F1249B8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24025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79F5CA-1E34-430D-BD90-4B046296F395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2EA6CE-4CF3-49FC-8D74-E093E7B2045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2854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73D311-5786-432B-9A87-E9E1D88BB22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961898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74B8F5-1EC3-463F-BDEB-BA44C35200D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0655624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A25FC9-F0FC-4D2A-85EE-DF55D4CC158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866159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DA28C6-5B46-4DBE-B8B8-FB4E95346DB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010421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69CF05-A790-4F7D-A5CD-2528C7E7AD9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234088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B86A5-E3AD-4A6D-9CCC-19074A0800D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124001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9333C1-F9D8-44DF-9D03-020ACF36D16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8440880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92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31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D4AA4D3-7BFD-4552-845C-428B24C5688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119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42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917647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943230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407615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5571617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315871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026233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4214484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579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A1DC6-A037-483D-973D-986147B12DF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9435770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8679023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スライド番号プレースホルダー 1"/>
          <p:cNvSpPr>
            <a:spLocks noGrp="1"/>
          </p:cNvSpPr>
          <p:nvPr>
            <p:ph type="sldNum" sz="quarter" idx="4"/>
          </p:nvPr>
        </p:nvSpPr>
        <p:spPr>
          <a:xfrm>
            <a:off x="9378816" y="6612087"/>
            <a:ext cx="526106" cy="307777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r">
              <a:defRPr sz="1400" b="1" i="1">
                <a:solidFill>
                  <a:schemeClr val="tx1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fld id="{EE60F8B7-DA16-4C3C-A9D6-E53F030A6A00}" type="slidenum">
              <a:rPr lang="ja-JP" altLang="en-US" smtClean="0">
                <a:solidFill>
                  <a:prstClr val="black"/>
                </a:solidFill>
              </a:rPr>
              <a:pPr/>
              <a:t>‹#›</a:t>
            </a:fld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mtClean="0"/>
              <a:t>マスター タイトルの書式設定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338548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199974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158536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833726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375737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337944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794976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23360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29D91D-B27B-4CAA-A2EF-D8E3F4F634FB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802341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8896235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895582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163689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553822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793102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1549242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296803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2836023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9933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5648B0-36CB-4E59-921B-4DCBB92DF95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7028072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993859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052908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702704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283629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2961563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689528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86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600" b="1">
              <a:solidFill>
                <a:srgbClr val="000000"/>
              </a:solidFill>
            </a:endParaRPr>
          </a:p>
        </p:txBody>
      </p:sp>
      <p:sp>
        <p:nvSpPr>
          <p:cNvPr id="54989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48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54989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7E9AC9-7D43-4F61-B43F-BF75A7EF2B1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939414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339183-CA15-4560-B39C-F3CBB52F9C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852165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48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2B87F-2BEB-4BFD-AC7C-EDF9BECEA5E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84958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B519EB-52B8-4296-A097-BD26F322DD4E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3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5C644-906E-49A8-9E75-0956D252345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558725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401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401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AF37DC-D3A0-4A08-B624-CADF47AA88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723305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2CE848-2DF6-46A2-AD9C-E0B8E36E307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362423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2B1FFB-A58F-4C28-AAE5-3C23D4A79C8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3451683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95C58E-08B7-45E8-A543-BEAB0EAF2E8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0033939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331FB9-72F5-400B-939D-D161BCE9688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3176056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726729-7712-4BE8-8DA0-EE625FD1D20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885544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7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47759B-FEDA-4CAB-BB32-D8E50BCFD3C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6725891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94981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 smtClean="0"/>
              <a:t>マスタ サブタイトルの書式設定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3398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495300" y="1600204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DC53A4-8C4B-4952-A40B-DC4170D4BEB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2388509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17201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6981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865748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158572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918564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96645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1122901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 smtClean="0"/>
              <a:t>アイコンをクリックして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120329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3305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タイトルとグラフ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グラフ プレースホルダ 2"/>
          <p:cNvSpPr>
            <a:spLocks noGrp="1"/>
          </p:cNvSpPr>
          <p:nvPr>
            <p:ph type="chart" idx="1"/>
          </p:nvPr>
        </p:nvSpPr>
        <p:spPr>
          <a:xfrm>
            <a:off x="495300" y="1600204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071819-587D-4755-9CE1-5DC3671C5925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466217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/>
          <a:p>
            <a:pPr lvl="0"/>
            <a:r>
              <a:rPr lang="ja-JP" altLang="en-US" noProof="0" smtClean="0"/>
              <a:t>アイコンをクリックしてクリップ アートを追加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976657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D688EB-AAD2-4D75-B846-AEEE14CEC94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407190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709023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5BC70-FA7B-4294-9407-7D831E2620E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577245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B91FFC-4712-4403-B14F-65B4292339A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569275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D6A6C-8CFC-4569-AAE2-C9E9C43E822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999042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B3383-B952-447B-9C5E-1900D707C2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370589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BF862-F8CF-4645-B5BC-AB0B0FF1A33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5736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41DE-1218-4884-9D22-7935396BCF0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540230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49A1BA-81F0-40BD-B1AB-79BF2138513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719187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C61071-CD67-49B9-ADBD-65B9335A768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1261976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8979AD-707B-404B-9B5B-F1DD9BCAD67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854677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39278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368720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9388621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6477699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951298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691239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07278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2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DF6946-716B-4B49-BFB6-BCCD53FDDF1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182446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0307981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972108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034244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29028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106141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458480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641522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646291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4043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059F97-1B15-44F5-B977-090BC23D2DA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767903"/>
      </p:ext>
    </p:extLst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792859"/>
      </p:ext>
    </p:extLst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374149"/>
      </p:ext>
    </p:extLst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1690159"/>
      </p:ext>
    </p:extLst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2388018"/>
      </p:ext>
    </p:extLst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599124"/>
      </p:ext>
    </p:extLst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892036"/>
      </p:ext>
    </p:extLst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95D3A6-B0CC-4C0C-8436-04EB7F23EC3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15090175"/>
      </p:ext>
    </p:extLst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CE07F6-A1EC-41AA-AD7A-403B8F061DF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099437886"/>
      </p:ext>
    </p:extLst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1FCF7A-4D3A-432A-B112-8FFC1D1EF3FC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94339784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77EDC-8661-40B2-B777-69FBBB550E6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46A51-6D3D-443F-A71C-AFA148DFE9A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177261876"/>
      </p:ext>
    </p:extLst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7CDA3D-2C87-4B20-AD0D-D41478C475E0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949920337"/>
      </p:ext>
    </p:extLst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BF369-1717-46A9-A702-18ADCF834E3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477137057"/>
      </p:ext>
    </p:extLst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08A8C9-F23D-4E4A-AB3C-7D633ECDD5EB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934160067"/>
      </p:ext>
    </p:extLst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DE0B455-91E6-499A-A330-849C3EF48C0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883066586"/>
      </p:ext>
    </p:extLst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401597-4A82-44A2-ADD4-A39A40C8F82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265441430"/>
      </p:ext>
    </p:extLst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54AB54-87D1-437D-9447-387F5AE7972D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833874993"/>
      </p:ext>
    </p:extLst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75B9CF-8F71-45EA-AFC3-F6BE6DDE84B1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078058511"/>
      </p:ext>
    </p:extLst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2EBC35-17D8-429C-BC80-03185E29122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480861572"/>
      </p:ext>
    </p:extLst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40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571BF4C-4659-49C8-BD16-E7E561248D4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5461"/>
      </p:ext>
    </p:extLst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079850"/>
      </p:ext>
    </p:extLst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010637"/>
      </p:ext>
    </p:extLst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692369"/>
      </p:ext>
    </p:extLst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54375"/>
      </p:ext>
    </p:extLst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209689"/>
      </p:ext>
    </p:extLst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809785"/>
      </p:ext>
    </p:extLst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509836"/>
      </p:ext>
    </p:extLst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7234918"/>
      </p:ext>
    </p:extLst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3291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2A034B-275D-4875-95AF-61A542FE7AB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178055"/>
      </p:ext>
    </p:extLst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284761"/>
      </p:ext>
    </p:extLst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419322"/>
      </p:ext>
    </p:extLst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1193099"/>
      </p:ext>
    </p:extLst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20824"/>
      </p:ext>
    </p:extLst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577875"/>
      </p:ext>
    </p:extLst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733444"/>
      </p:ext>
    </p:extLst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292249"/>
      </p:ext>
    </p:extLst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022380"/>
      </p:ext>
    </p:extLst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2376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C11AFD-6447-4AD7-A815-F78ABFD4ADBB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4487393"/>
      </p:ext>
    </p:extLst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050592"/>
      </p:ext>
    </p:extLst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733999"/>
      </p:ext>
    </p:extLst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 smtClean="0"/>
              <a:t>マスター サブタイトルの書式設定</a:t>
            </a:r>
            <a:endParaRPr lang="ja-JP" alt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30017-9609-4D2E-9D45-2F26126E426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62245"/>
      </p:ext>
    </p:extLst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56E018-A899-468C-BAEC-B3288C2593D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077714"/>
      </p:ext>
    </p:extLst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FED8F-F141-4B48-B896-773EC363767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738921"/>
      </p:ext>
    </p:extLst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55CF23-40A3-40BC-834D-023BA74B6C0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155332"/>
      </p:ext>
    </p:extLst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67CC96-C132-4951-9E41-C7ED79D2AF1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643824"/>
      </p:ext>
    </p:extLst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8B1D2-3202-4061-ACAB-7904D4E236E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8481028"/>
      </p:ext>
    </p:extLst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B90E89-A2BE-47B1-A0C2-771B5AFF7F4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199119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B1E682-E6DE-44C3-BDF2-88EF9B2433C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CDCED5-CFF7-4BED-B003-778E0DD1CBA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027254"/>
      </p:ext>
    </p:extLst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E978A0-0779-408A-990A-15C7834CCC0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5178780"/>
      </p:ext>
    </p:extLst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ja-JP" altLang="en-US" noProof="0" smtClean="0"/>
              <a:t>図を追加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ー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0D0DFA-7D6C-4B91-BC1A-1A440811B01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7007385"/>
      </p:ext>
    </p:extLst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04114-863F-4171-8E9A-E27FF9FF3E1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592585"/>
      </p:ext>
    </p:extLst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857D4E-190E-4C49-A011-FF1D7874CCA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404314"/>
      </p:ext>
    </p:extLst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/>
          <a:p>
            <a:pPr lvl="0"/>
            <a:r>
              <a:rPr lang="ja-JP" altLang="en-US" noProof="0" smtClean="0"/>
              <a:t>オンライン画像を追加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EE99E3-707C-4687-AD2B-0279F82F4D3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111643"/>
      </p:ext>
    </p:extLst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034460"/>
      </p:ext>
    </p:extLst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792174"/>
      </p:ext>
    </p:extLst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510326"/>
      </p:ext>
    </p:extLst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69677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177E5C-A48B-47A4-8813-58A1D458A11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0019164"/>
      </p:ext>
    </p:extLst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27643"/>
      </p:ext>
    </p:extLst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866552"/>
      </p:ext>
    </p:extLst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662247"/>
      </p:ext>
    </p:extLst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335891"/>
      </p:ext>
    </p:extLst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421806"/>
      </p:ext>
    </p:extLst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935858"/>
      </p:ext>
    </p:extLst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178798"/>
      </p:ext>
    </p:extLst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9605"/>
      </p:ext>
    </p:extLst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602582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26016B-CAC8-4068-90AC-F53A2AA3B7E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D688EB-AAD2-4D75-B846-AEEE14CEC94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640476"/>
      </p:ext>
    </p:extLst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450223"/>
      </p:ext>
    </p:extLst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C5BC70-FA7B-4294-9407-7D831E2620E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373091"/>
      </p:ext>
    </p:extLst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B91FFC-4712-4403-B14F-65B4292339A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988135"/>
      </p:ext>
    </p:extLst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BD6A6C-8CFC-4569-AAE2-C9E9C43E822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758773"/>
      </p:ext>
    </p:extLst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B3383-B952-447B-9C5E-1900D707C22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255096"/>
      </p:ext>
    </p:extLst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BF862-F8CF-4645-B5BC-AB0B0FF1A33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844178"/>
      </p:ext>
    </p:extLst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41DE-1218-4884-9D22-7935396BCF0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87375"/>
      </p:ext>
    </p:extLst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49A1BA-81F0-40BD-B1AB-79BF2138513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275293"/>
      </p:ext>
    </p:extLst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C61071-CD67-49B9-ADBD-65B9335A768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03818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458E60-1722-4373-BF8F-82CC8665739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8979AD-707B-404B-9B5B-F1DD9BCAD67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437440"/>
      </p:ext>
    </p:extLst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9624800"/>
      </p:ext>
    </p:extLst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30017-9609-4D2E-9D45-2F26126E426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339464"/>
      </p:ext>
    </p:extLst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56E018-A899-468C-BAEC-B3288C2593D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540803"/>
      </p:ext>
    </p:extLst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BFED8F-F141-4B48-B896-773EC363767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057028"/>
      </p:ext>
    </p:extLst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55CF23-40A3-40BC-834D-023BA74B6C0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841914"/>
      </p:ext>
    </p:extLst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67CC96-C132-4951-9E41-C7ED79D2AF1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632667"/>
      </p:ext>
    </p:extLst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8B1D2-3202-4061-ACAB-7904D4E236E9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9753"/>
      </p:ext>
    </p:extLst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B90E89-A2BE-47B1-A0C2-771B5AFF7F4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072858"/>
      </p:ext>
    </p:extLst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CDCED5-CFF7-4BED-B003-778E0DD1CBA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25703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284455-B718-4EE3-9183-2687F992C5C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E978A0-0779-408A-990A-15C7834CCC0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8424"/>
      </p:ext>
    </p:extLst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0D0DFA-7D6C-4B91-BC1A-1A440811B01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127604"/>
      </p:ext>
    </p:extLst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04114-863F-4171-8E9A-E27FF9FF3E1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911207"/>
      </p:ext>
    </p:extLst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857D4E-190E-4C49-A011-FF1D7874CCA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0398287"/>
      </p:ext>
    </p:extLst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タイトル、テキスト、クリップ ア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0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クリップアート プレースホルダ 3"/>
          <p:cNvSpPr>
            <a:spLocks noGrp="1"/>
          </p:cNvSpPr>
          <p:nvPr>
            <p:ph type="clipArt"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EE99E3-707C-4687-AD2B-0279F82F4D3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596162"/>
      </p:ext>
    </p:extLst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5938565"/>
      </p:ext>
    </p:extLst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075855"/>
      </p:ext>
    </p:extLst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631394"/>
      </p:ext>
    </p:extLst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669272"/>
      </p:ext>
    </p:extLst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58619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7277D1-B84C-43E8-A6CB-74600305890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830707"/>
      </p:ext>
    </p:extLst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851463"/>
      </p:ext>
    </p:extLst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921716"/>
      </p:ext>
    </p:extLst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28676"/>
      </p:ext>
    </p:extLst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065522"/>
      </p:ext>
    </p:extLst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79460"/>
      </p:ext>
    </p:extLst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027871"/>
      </p:ext>
    </p:extLst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724542"/>
      </p:ext>
    </p:extLst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8467283"/>
      </p:ext>
    </p:extLst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80500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2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0892957"/>
      </p:ext>
    </p:extLst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802250"/>
      </p:ext>
    </p:extLst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0284"/>
      </p:ext>
    </p:extLst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93851"/>
      </p:ext>
    </p:extLst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984407"/>
      </p:ext>
    </p:extLst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503007"/>
      </p:ext>
    </p:extLst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8381531"/>
      </p:ext>
    </p:extLst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709539"/>
      </p:ext>
    </p:extLst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5891796"/>
      </p:ext>
    </p:extLst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884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376458"/>
      </p:ext>
    </p:extLst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973181"/>
      </p:ext>
    </p:extLst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D6F737-795C-4032-9B95-D140E2BD87B0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7" name="直線コネクタ 6"/>
          <p:cNvCxnSpPr/>
          <p:nvPr userDrawn="1"/>
        </p:nvCxnSpPr>
        <p:spPr>
          <a:xfrm>
            <a:off x="0" y="607299"/>
            <a:ext cx="990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8914708"/>
      </p:ext>
    </p:extLst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A11C3-7780-4AA5-A4ED-66683BC109F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510982"/>
      </p:ext>
    </p:extLst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4833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B57B5D-BD9A-489B-94A1-21EC468D984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84953"/>
      </p:ext>
    </p:extLst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7E51A-0027-49EA-B69C-A038F1249B8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818725"/>
      </p:ext>
    </p:extLst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2EA6CE-4CF3-49FC-8D74-E093E7B2045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0784601"/>
      </p:ext>
    </p:extLst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73D311-5786-432B-9A87-E9E1D88BB22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2771347"/>
      </p:ext>
    </p:extLst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74B8F5-1EC3-463F-BDEB-BA44C35200D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784355"/>
      </p:ext>
    </p:extLst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A25FC9-F0FC-4D2A-85EE-DF55D4CC158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211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DA28C6-5B46-4DBE-B8B8-FB4E95346DB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541939"/>
      </p:ext>
    </p:extLst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69CF05-A790-4F7D-A5CD-2528C7E7AD9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3474661"/>
      </p:ext>
    </p:extLst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B86A5-E3AD-4A6D-9CCC-19074A0800D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0988654"/>
      </p:ext>
    </p:extLst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9333C1-F9D8-44DF-9D03-020ACF36D16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0200331"/>
      </p:ext>
    </p:extLst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0862547"/>
      </p:ext>
    </p:extLst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smtClean="0"/>
              <a:t>マスター サブタイトルの書式設定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10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7851391"/>
      </p:ext>
    </p:extLst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A11C3-7780-4AA5-A4ED-66683BC109F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372452"/>
      </p:ext>
    </p:extLst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4833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B57B5D-BD9A-489B-94A1-21EC468D984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0049475"/>
      </p:ext>
    </p:extLst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7E51A-0027-49EA-B69C-A038F1249B8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23145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2EA6CE-4CF3-49FC-8D74-E093E7B2045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384348"/>
      </p:ext>
    </p:extLst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73D311-5786-432B-9A87-E9E1D88BB22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957076"/>
      </p:ext>
    </p:extLst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74B8F5-1EC3-463F-BDEB-BA44C35200D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717357"/>
      </p:ext>
    </p:extLst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A25FC9-F0FC-4D2A-85EE-DF55D4CC158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397962"/>
      </p:ext>
    </p:extLst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DA28C6-5B46-4DBE-B8B8-FB4E95346DB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538688"/>
      </p:ext>
    </p:extLst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69CF05-A790-4F7D-A5CD-2528C7E7AD9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866831"/>
      </p:ext>
    </p:extLst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B86A5-E3AD-4A6D-9CCC-19074A0800D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267252"/>
      </p:ext>
    </p:extLst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9333C1-F9D8-44DF-9D03-020ACF36D16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664946"/>
      </p:ext>
    </p:extLst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344904"/>
      </p:ext>
    </p:extLst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2061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2589368"/>
      </p:ext>
    </p:extLst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ja-JP" altLang="en-US" smtClean="0"/>
              <a:t>マスタ サブタイトルの書式設定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A139363-3776-4C57-A6E9-DE512C25C27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74394261"/>
      </p:ext>
    </p:extLst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73CC5FA-D14B-4298-B2D8-64067D7BDF1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38982959"/>
      </p:ext>
    </p:extLst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6A1687-7F3D-4B93-A951-DFE0CB71709B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61321351"/>
      </p:ext>
    </p:extLst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F532765-7585-4603-B576-52E299D161A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64252121"/>
      </p:ext>
    </p:extLst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599F54F-D38D-4A2E-845A-BC78A0173EF7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23226796"/>
      </p:ext>
    </p:extLst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6106C1-0576-41A7-80CC-99A861A7653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7744080"/>
      </p:ext>
    </p:extLst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9AAA843-5C7A-4D93-A69B-A203303DFD52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351911070"/>
      </p:ext>
    </p:extLst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95399F-C61B-4133-81FC-2F7612D89245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13887014"/>
      </p:ext>
    </p:extLst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23A5DE1-ADE2-4131-9103-4B28AD7FC89A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4306898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1EF7A89-0D46-4E35-9109-AF3A70731541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76382796"/>
      </p:ext>
    </p:extLst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181850" y="274638"/>
            <a:ext cx="2228850" cy="5851525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95300" y="274638"/>
            <a:ext cx="6534150" cy="5851525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015836-EAA1-4E4D-89AC-D58DA59525DE}" type="slidenum">
              <a:rPr lang="ja-JP" altLang="en-US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76713866"/>
      </p:ext>
    </p:extLst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0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A11C3-7780-4AA5-A4ED-66683BC109F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2341932"/>
      </p:ext>
    </p:extLst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4833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B57B5D-BD9A-489B-94A1-21EC468D984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78165"/>
      </p:ext>
    </p:extLst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7E51A-0027-49EA-B69C-A038F1249B8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23590"/>
      </p:ext>
    </p:extLst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0"/>
            <a:ext cx="43815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2EA6CE-4CF3-49FC-8D74-E093E7B2045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573107"/>
      </p:ext>
    </p:extLst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73D311-5786-432B-9A87-E9E1D88BB22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946931"/>
      </p:ext>
    </p:extLst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74B8F5-1EC3-463F-BDEB-BA44C35200D2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3223531"/>
      </p:ext>
    </p:extLst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A25FC9-F0FC-4D2A-85EE-DF55D4CC158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459983"/>
      </p:ext>
    </p:extLst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DA28C6-5B46-4DBE-B8B8-FB4E95346DB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91183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69CF05-A790-4F7D-A5CD-2528C7E7AD9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3524831"/>
      </p:ext>
    </p:extLst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B86A5-E3AD-4A6D-9CCC-19074A0800D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3634858"/>
      </p:ext>
    </p:extLst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0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9333C1-F9D8-44DF-9D03-020ACF36D160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830850"/>
      </p:ext>
    </p:extLst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1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86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3"/>
            <a:ext cx="8121650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076714"/>
      </p:ext>
    </p:extLst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821758"/>
      </p:ext>
    </p:extLst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3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4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2037" indent="0">
              <a:buNone/>
              <a:defRPr sz="1661"/>
            </a:lvl2pPr>
            <a:lvl3pPr marL="844073" indent="0">
              <a:buNone/>
              <a:defRPr sz="1477"/>
            </a:lvl3pPr>
            <a:lvl4pPr marL="1266110" indent="0">
              <a:buNone/>
              <a:defRPr sz="1292"/>
            </a:lvl4pPr>
            <a:lvl5pPr marL="1688147" indent="0">
              <a:buNone/>
              <a:defRPr sz="1292"/>
            </a:lvl5pPr>
            <a:lvl6pPr marL="2110184" indent="0">
              <a:buNone/>
              <a:defRPr sz="1292"/>
            </a:lvl6pPr>
            <a:lvl7pPr marL="2532220" indent="0">
              <a:buNone/>
              <a:defRPr sz="1292"/>
            </a:lvl7pPr>
            <a:lvl8pPr marL="2954257" indent="0">
              <a:buNone/>
              <a:defRPr sz="1292"/>
            </a:lvl8pPr>
            <a:lvl9pPr marL="3376293" indent="0">
              <a:buNone/>
              <a:defRPr sz="129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7032"/>
      </p:ext>
    </p:extLst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3"/>
            <a:ext cx="4381501" cy="4525963"/>
          </a:xfrm>
        </p:spPr>
        <p:txBody>
          <a:bodyPr/>
          <a:lstStyle>
            <a:lvl1pPr>
              <a:defRPr sz="2584"/>
            </a:lvl1pPr>
            <a:lvl2pPr>
              <a:defRPr sz="2216"/>
            </a:lvl2pPr>
            <a:lvl3pPr>
              <a:defRPr sz="1846"/>
            </a:lvl3pPr>
            <a:lvl4pPr>
              <a:defRPr sz="1661"/>
            </a:lvl4pPr>
            <a:lvl5pPr>
              <a:defRPr sz="1661"/>
            </a:lvl5pPr>
            <a:lvl6pPr>
              <a:defRPr sz="1661"/>
            </a:lvl6pPr>
            <a:lvl7pPr>
              <a:defRPr sz="1661"/>
            </a:lvl7pPr>
            <a:lvl8pPr>
              <a:defRPr sz="1661"/>
            </a:lvl8pPr>
            <a:lvl9pPr>
              <a:defRPr sz="166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200" y="1600203"/>
            <a:ext cx="4381501" cy="4525963"/>
          </a:xfrm>
        </p:spPr>
        <p:txBody>
          <a:bodyPr/>
          <a:lstStyle>
            <a:lvl1pPr>
              <a:defRPr sz="2584"/>
            </a:lvl1pPr>
            <a:lvl2pPr>
              <a:defRPr sz="2216"/>
            </a:lvl2pPr>
            <a:lvl3pPr>
              <a:defRPr sz="1846"/>
            </a:lvl3pPr>
            <a:lvl4pPr>
              <a:defRPr sz="1661"/>
            </a:lvl4pPr>
            <a:lvl5pPr>
              <a:defRPr sz="1661"/>
            </a:lvl5pPr>
            <a:lvl6pPr>
              <a:defRPr sz="1661"/>
            </a:lvl6pPr>
            <a:lvl7pPr>
              <a:defRPr sz="1661"/>
            </a:lvl7pPr>
            <a:lvl8pPr>
              <a:defRPr sz="1661"/>
            </a:lvl8pPr>
            <a:lvl9pPr>
              <a:defRPr sz="166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463173"/>
      </p:ext>
    </p:extLst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216" b="1"/>
            </a:lvl1pPr>
            <a:lvl2pPr marL="422037" indent="0">
              <a:buNone/>
              <a:defRPr sz="1846" b="1"/>
            </a:lvl2pPr>
            <a:lvl3pPr marL="844073" indent="0">
              <a:buNone/>
              <a:defRPr sz="1661" b="1"/>
            </a:lvl3pPr>
            <a:lvl4pPr marL="1266110" indent="0">
              <a:buNone/>
              <a:defRPr sz="1477" b="1"/>
            </a:lvl4pPr>
            <a:lvl5pPr marL="1688147" indent="0">
              <a:buNone/>
              <a:defRPr sz="1477" b="1"/>
            </a:lvl5pPr>
            <a:lvl6pPr marL="2110184" indent="0">
              <a:buNone/>
              <a:defRPr sz="1477" b="1"/>
            </a:lvl6pPr>
            <a:lvl7pPr marL="2532220" indent="0">
              <a:buNone/>
              <a:defRPr sz="1477" b="1"/>
            </a:lvl7pPr>
            <a:lvl8pPr marL="2954257" indent="0">
              <a:buNone/>
              <a:defRPr sz="1477" b="1"/>
            </a:lvl8pPr>
            <a:lvl9pPr marL="3376293" indent="0">
              <a:buNone/>
              <a:defRPr sz="1477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216"/>
            </a:lvl1pPr>
            <a:lvl2pPr>
              <a:defRPr sz="1846"/>
            </a:lvl2pPr>
            <a:lvl3pPr>
              <a:defRPr sz="1661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216" b="1"/>
            </a:lvl1pPr>
            <a:lvl2pPr marL="422037" indent="0">
              <a:buNone/>
              <a:defRPr sz="1846" b="1"/>
            </a:lvl2pPr>
            <a:lvl3pPr marL="844073" indent="0">
              <a:buNone/>
              <a:defRPr sz="1661" b="1"/>
            </a:lvl3pPr>
            <a:lvl4pPr marL="1266110" indent="0">
              <a:buNone/>
              <a:defRPr sz="1477" b="1"/>
            </a:lvl4pPr>
            <a:lvl5pPr marL="1688147" indent="0">
              <a:buNone/>
              <a:defRPr sz="1477" b="1"/>
            </a:lvl5pPr>
            <a:lvl6pPr marL="2110184" indent="0">
              <a:buNone/>
              <a:defRPr sz="1477" b="1"/>
            </a:lvl6pPr>
            <a:lvl7pPr marL="2532220" indent="0">
              <a:buNone/>
              <a:defRPr sz="1477" b="1"/>
            </a:lvl7pPr>
            <a:lvl8pPr marL="2954257" indent="0">
              <a:buNone/>
              <a:defRPr sz="1477" b="1"/>
            </a:lvl8pPr>
            <a:lvl9pPr marL="3376293" indent="0">
              <a:buNone/>
              <a:defRPr sz="1477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216"/>
            </a:lvl1pPr>
            <a:lvl2pPr>
              <a:defRPr sz="1846"/>
            </a:lvl2pPr>
            <a:lvl3pPr>
              <a:defRPr sz="1661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3760421"/>
      </p:ext>
    </p:extLst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1195511"/>
      </p:ext>
    </p:extLst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58235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500" y="273053"/>
            <a:ext cx="5537201" cy="5853113"/>
          </a:xfrm>
        </p:spPr>
        <p:txBody>
          <a:bodyPr/>
          <a:lstStyle>
            <a:lvl1pPr>
              <a:defRPr sz="2954"/>
            </a:lvl1pPr>
            <a:lvl2pPr>
              <a:defRPr sz="2584"/>
            </a:lvl2pPr>
            <a:lvl3pPr>
              <a:defRPr sz="2216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138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37" indent="0">
              <a:buNone/>
              <a:defRPr sz="1108"/>
            </a:lvl2pPr>
            <a:lvl3pPr marL="844073" indent="0">
              <a:buNone/>
              <a:defRPr sz="923"/>
            </a:lvl3pPr>
            <a:lvl4pPr marL="1266110" indent="0">
              <a:buNone/>
              <a:defRPr sz="831"/>
            </a:lvl4pPr>
            <a:lvl5pPr marL="1688147" indent="0">
              <a:buNone/>
              <a:defRPr sz="831"/>
            </a:lvl5pPr>
            <a:lvl6pPr marL="2110184" indent="0">
              <a:buNone/>
              <a:defRPr sz="831"/>
            </a:lvl6pPr>
            <a:lvl7pPr marL="2532220" indent="0">
              <a:buNone/>
              <a:defRPr sz="831"/>
            </a:lvl7pPr>
            <a:lvl8pPr marL="2954257" indent="0">
              <a:buNone/>
              <a:defRPr sz="831"/>
            </a:lvl8pPr>
            <a:lvl9pPr marL="3376293" indent="0">
              <a:buNone/>
              <a:defRPr sz="83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812265"/>
      </p:ext>
    </p:extLst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2037" indent="0">
              <a:buNone/>
              <a:defRPr sz="2584"/>
            </a:lvl2pPr>
            <a:lvl3pPr marL="844073" indent="0">
              <a:buNone/>
              <a:defRPr sz="2216"/>
            </a:lvl3pPr>
            <a:lvl4pPr marL="1266110" indent="0">
              <a:buNone/>
              <a:defRPr sz="1846"/>
            </a:lvl4pPr>
            <a:lvl5pPr marL="1688147" indent="0">
              <a:buNone/>
              <a:defRPr sz="1846"/>
            </a:lvl5pPr>
            <a:lvl6pPr marL="2110184" indent="0">
              <a:buNone/>
              <a:defRPr sz="1846"/>
            </a:lvl6pPr>
            <a:lvl7pPr marL="2532220" indent="0">
              <a:buNone/>
              <a:defRPr sz="1846"/>
            </a:lvl7pPr>
            <a:lvl8pPr marL="2954257" indent="0">
              <a:buNone/>
              <a:defRPr sz="1846"/>
            </a:lvl8pPr>
            <a:lvl9pPr marL="3376293" indent="0">
              <a:buNone/>
              <a:defRPr sz="1846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37" indent="0">
              <a:buNone/>
              <a:defRPr sz="1108"/>
            </a:lvl2pPr>
            <a:lvl3pPr marL="844073" indent="0">
              <a:buNone/>
              <a:defRPr sz="923"/>
            </a:lvl3pPr>
            <a:lvl4pPr marL="1266110" indent="0">
              <a:buNone/>
              <a:defRPr sz="831"/>
            </a:lvl4pPr>
            <a:lvl5pPr marL="1688147" indent="0">
              <a:buNone/>
              <a:defRPr sz="831"/>
            </a:lvl5pPr>
            <a:lvl6pPr marL="2110184" indent="0">
              <a:buNone/>
              <a:defRPr sz="831"/>
            </a:lvl6pPr>
            <a:lvl7pPr marL="2532220" indent="0">
              <a:buNone/>
              <a:defRPr sz="831"/>
            </a:lvl7pPr>
            <a:lvl8pPr marL="2954257" indent="0">
              <a:buNone/>
              <a:defRPr sz="831"/>
            </a:lvl8pPr>
            <a:lvl9pPr marL="3376293" indent="0">
              <a:buNone/>
              <a:defRPr sz="83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5263746"/>
      </p:ext>
    </p:extLst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498147"/>
      </p:ext>
    </p:extLst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6" y="1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1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84921"/>
      </p:ext>
    </p:extLst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1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6993734"/>
      </p:ext>
    </p:extLst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EE50F3D-21CE-4195-89C1-BFA2257846CD}" type="slidenum">
              <a:rPr lang="en-US" altLang="ja-JP">
                <a:solidFill>
                  <a:prstClr val="black"/>
                </a:solidFill>
              </a:rPr>
              <a:pPr/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7901045"/>
      </p:ext>
    </p:extLst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 userDrawn="1"/>
        </p:nvSpPr>
        <p:spPr bwMode="auto">
          <a:xfrm>
            <a:off x="1833563" y="3284540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662">
              <a:solidFill>
                <a:srgbClr val="000000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2"/>
            <a:ext cx="8121650" cy="1470025"/>
          </a:xfrm>
        </p:spPr>
        <p:txBody>
          <a:bodyPr/>
          <a:lstStyle>
            <a:lvl1pPr>
              <a:defRPr sz="3692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E691D639-25E2-4742-8CC6-B5A08CE8FB2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36179960"/>
      </p:ext>
    </p:extLst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98D6F504-8DFD-4D42-B53B-C91EA710460F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936461151"/>
      </p:ext>
    </p:extLst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2"/>
            <a:ext cx="84201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1846"/>
            </a:lvl1pPr>
            <a:lvl2pPr marL="422041" indent="0">
              <a:buNone/>
              <a:defRPr sz="1662"/>
            </a:lvl2pPr>
            <a:lvl3pPr marL="844083" indent="0">
              <a:buNone/>
              <a:defRPr sz="1477"/>
            </a:lvl3pPr>
            <a:lvl4pPr marL="1266124" indent="0">
              <a:buNone/>
              <a:defRPr sz="1292"/>
            </a:lvl4pPr>
            <a:lvl5pPr marL="1688165" indent="0">
              <a:buNone/>
              <a:defRPr sz="1292"/>
            </a:lvl5pPr>
            <a:lvl6pPr marL="2110207" indent="0">
              <a:buNone/>
              <a:defRPr sz="1292"/>
            </a:lvl6pPr>
            <a:lvl7pPr marL="2532248" indent="0">
              <a:buNone/>
              <a:defRPr sz="1292"/>
            </a:lvl7pPr>
            <a:lvl8pPr marL="2954289" indent="0">
              <a:buNone/>
              <a:defRPr sz="1292"/>
            </a:lvl8pPr>
            <a:lvl9pPr marL="3376331" indent="0">
              <a:buNone/>
              <a:defRPr sz="129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86330C0-8959-4F15-9492-04179BCCFF48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651726158"/>
      </p:ext>
    </p:extLst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0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2"/>
            <a:ext cx="4381501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A4974B2D-3D87-463E-8C99-415518A37CC3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48782700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7" y="1535113"/>
            <a:ext cx="437832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7" y="2174875"/>
            <a:ext cx="437832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0BD9F5F7-485E-4DB3-98A5-AE7DB34799E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821548940"/>
      </p:ext>
    </p:extLst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6FA2D72C-FA95-4190-AE47-7DE463835009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4048202372"/>
      </p:ext>
    </p:extLst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F6BBFF13-836A-4648-A5CF-94246F18DFB7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739820292"/>
      </p:ext>
    </p:extLst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1" y="273050"/>
            <a:ext cx="3259138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1" y="1435102"/>
            <a:ext cx="3259138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12EEA723-3600-49F7-9000-233E19C291CA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952093408"/>
      </p:ext>
    </p:extLst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2463F07-213A-4F1F-8547-7E3E4CBF9786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513958083"/>
      </p:ext>
    </p:extLst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D568919F-6DD7-4133-B2BF-A456096F94FC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953223888"/>
      </p:ext>
    </p:extLst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2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2" y="2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6C8677B1-74BF-4D8D-B963-8B854420779B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2249838170"/>
      </p:ext>
    </p:extLst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タイトルと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" y="0"/>
            <a:ext cx="8266113" cy="476250"/>
          </a:xfrm>
        </p:spPr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表プレースホルダ 2"/>
          <p:cNvSpPr>
            <a:spLocks noGrp="1"/>
          </p:cNvSpPr>
          <p:nvPr>
            <p:ph type="tbl" idx="1"/>
          </p:nvPr>
        </p:nvSpPr>
        <p:spPr>
          <a:xfrm>
            <a:off x="495300" y="1600202"/>
            <a:ext cx="8915400" cy="4525963"/>
          </a:xfrm>
        </p:spPr>
        <p:txBody>
          <a:bodyPr/>
          <a:lstStyle/>
          <a:p>
            <a:pPr lvl="0"/>
            <a:endParaRPr lang="ja-JP" altLang="en-US" noProof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39CE0554-F159-445A-AC9E-ED2974386082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292103597"/>
      </p:ext>
    </p:extLst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2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G丸ｺﾞｼｯｸM-PRO" pitchFamily="50" charset="-128"/>
              </a:defRPr>
            </a:lvl1pPr>
          </a:lstStyle>
          <a:p>
            <a:pPr>
              <a:defRPr/>
            </a:pPr>
            <a:fld id="{E95CD985-232C-4CAF-9EA8-07858A3007CD}" type="slidenum">
              <a:rPr lang="en-US" altLang="ja-JP"/>
              <a:pPr>
                <a:defRPr/>
              </a:pPr>
              <a:t>‹#›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548022148"/>
      </p:ext>
    </p:extLst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4B62DA-A87B-4D13-9D4B-DA005EEC525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24733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0" descr="ppjtitle"/>
          <p:cNvPicPr>
            <a:picLocks noChangeAspect="1" noChangeArrowheads="1"/>
          </p:cNvPicPr>
          <p:nvPr userDrawn="1"/>
        </p:nvPicPr>
        <p:blipFill>
          <a:blip r:embed="rId2" cstate="email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14"/>
          <p:cNvSpPr>
            <a:spLocks noChangeArrowheads="1"/>
          </p:cNvSpPr>
          <p:nvPr userDrawn="1"/>
        </p:nvSpPr>
        <p:spPr bwMode="auto">
          <a:xfrm>
            <a:off x="1833563" y="3284544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6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BC983B-4A3C-4011-B48F-4B1A95B6BB2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7738988"/>
      </p:ext>
    </p:extLst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594600" y="6553150"/>
            <a:ext cx="2311400" cy="47625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D24F9B-1059-4270-837C-682AF1019EF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331269"/>
      </p:ext>
    </p:extLst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6FC1E-97FB-47E8-8A15-62CBE3A8CCDF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5829927"/>
      </p:ext>
    </p:extLst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2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0E6122-BD14-4142-9E60-93220B4E82C1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6433882"/>
      </p:ext>
    </p:extLst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9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9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E6070F-1EA7-49A7-BE4B-955743FF1353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711878"/>
      </p:ext>
    </p:extLst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F3B0B-B1E1-4C03-891B-B254E7649D4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456139"/>
      </p:ext>
    </p:extLst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F643B-1E2A-4F03-8182-047C0680F22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893074"/>
      </p:ext>
    </p:extLst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240BB9-DC62-40AE-AFEB-DEDC9D7564A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4401992"/>
      </p:ext>
    </p:extLst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ja-JP" altLang="en-US" noProof="0" smtClean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D109A3-A064-4A10-ADA6-4A4FD1722D1A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886748"/>
      </p:ext>
    </p:extLst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D7051E-5270-4375-A243-9E4BFF7661A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868932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3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7058025" y="0"/>
            <a:ext cx="2352675" cy="6126163"/>
          </a:xfrm>
        </p:spPr>
        <p:txBody>
          <a:bodyPr vert="eaVert"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" y="0"/>
            <a:ext cx="6905625" cy="6126163"/>
          </a:xfrm>
        </p:spPr>
        <p:txBody>
          <a:bodyPr vert="eaVert"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0FED5-3084-467F-AEC8-2182149A5A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408504"/>
      </p:ext>
    </p:extLst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コンテンツ プレースホルダ 1"/>
          <p:cNvSpPr>
            <a:spLocks noGrp="1"/>
          </p:cNvSpPr>
          <p:nvPr>
            <p:ph/>
          </p:nvPr>
        </p:nvSpPr>
        <p:spPr>
          <a:xfrm>
            <a:off x="0" y="0"/>
            <a:ext cx="9410700" cy="6126163"/>
          </a:xfrm>
        </p:spPr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127FF6-0507-47A6-B209-AE7E6A074F38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402174"/>
      </p:ext>
    </p:extLst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ppjtitl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6076950"/>
            <a:ext cx="9921875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1833563" y="3284538"/>
            <a:ext cx="8072437" cy="7302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1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784350" y="2133604"/>
            <a:ext cx="8121650" cy="1470025"/>
          </a:xfrm>
        </p:spPr>
        <p:txBody>
          <a:bodyPr/>
          <a:lstStyle>
            <a:lvl1pPr>
              <a:defRPr sz="4000"/>
            </a:lvl1pPr>
          </a:lstStyle>
          <a:p>
            <a:r>
              <a:rPr lang="ja-JP" altLang="en-US"/>
              <a:t>マスタ タイトルの書式設定</a:t>
            </a:r>
          </a:p>
        </p:txBody>
      </p:sp>
      <p:sp>
        <p:nvSpPr>
          <p:cNvPr id="771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Tx/>
              <a:buNone/>
              <a:defRPr kumimoji="0"/>
            </a:lvl1pPr>
          </a:lstStyle>
          <a:p>
            <a:r>
              <a:rPr lang="ja-JP" altLang="en-US"/>
              <a:t>国土交通省　観光庁</a:t>
            </a:r>
          </a:p>
          <a:p>
            <a:r>
              <a:rPr lang="ja-JP" altLang="en-US"/>
              <a:t>○○課</a:t>
            </a:r>
          </a:p>
          <a:p>
            <a:r>
              <a:rPr lang="ja-JP" altLang="en-US"/>
              <a:t>平成○○年○○月</a:t>
            </a:r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5225"/>
            <a:ext cx="23114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83168AD-F75F-4B8D-A33B-25B351A222BC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0151183"/>
      </p:ext>
    </p:extLst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572EBA-FFE0-4B43-9A8E-DBB50408319E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4323326"/>
      </p:ext>
    </p:extLst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82638" y="4406904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CC7573-1486-4034-8DDB-916305E64404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166346"/>
      </p:ext>
    </p:extLst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95301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5029199" y="1600204"/>
            <a:ext cx="4381501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F83230-95BA-4BF0-BCB3-53B3223EAF45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350690"/>
      </p:ext>
    </p:extLst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5032378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5032378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8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F66580-2D2E-40D3-80EC-71F315E1652D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9529192"/>
      </p:ext>
    </p:extLst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E492B4-EA80-4266-AC02-E056DBF970C7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4947958"/>
      </p:ext>
    </p:extLst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4A3917-2651-4D72-8624-C0F2A06DE12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1649982"/>
      </p:ext>
    </p:extLst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873499" y="273052"/>
            <a:ext cx="553720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95300" y="1435102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ja-JP" altLang="en-US" smtClean="0"/>
              <a:t>マスタ テキストの書式設定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6" name="Rectangle 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8BB52C-B6A8-454B-B64F-A7A1DDA75046}" type="slidenum">
              <a:rPr lang="en-US" altLang="ja-JP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35852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/Relationships>
</file>

<file path=ppt/slideMasters/_rels/slideMaster10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4.xml"/><Relationship Id="rId13" Type="http://schemas.openxmlformats.org/officeDocument/2006/relationships/theme" Target="../theme/theme100.xml"/><Relationship Id="rId3" Type="http://schemas.openxmlformats.org/officeDocument/2006/relationships/slideLayout" Target="../slideLayouts/slideLayout1019.xml"/><Relationship Id="rId7" Type="http://schemas.openxmlformats.org/officeDocument/2006/relationships/slideLayout" Target="../slideLayouts/slideLayout1023.xml"/><Relationship Id="rId12" Type="http://schemas.openxmlformats.org/officeDocument/2006/relationships/slideLayout" Target="../slideLayouts/slideLayout1028.xml"/><Relationship Id="rId2" Type="http://schemas.openxmlformats.org/officeDocument/2006/relationships/slideLayout" Target="../slideLayouts/slideLayout1018.xml"/><Relationship Id="rId1" Type="http://schemas.openxmlformats.org/officeDocument/2006/relationships/slideLayout" Target="../slideLayouts/slideLayout1017.xml"/><Relationship Id="rId6" Type="http://schemas.openxmlformats.org/officeDocument/2006/relationships/slideLayout" Target="../slideLayouts/slideLayout1022.xml"/><Relationship Id="rId11" Type="http://schemas.openxmlformats.org/officeDocument/2006/relationships/slideLayout" Target="../slideLayouts/slideLayout1027.xml"/><Relationship Id="rId5" Type="http://schemas.openxmlformats.org/officeDocument/2006/relationships/slideLayout" Target="../slideLayouts/slideLayout1021.xml"/><Relationship Id="rId10" Type="http://schemas.openxmlformats.org/officeDocument/2006/relationships/slideLayout" Target="../slideLayouts/slideLayout1026.xml"/><Relationship Id="rId4" Type="http://schemas.openxmlformats.org/officeDocument/2006/relationships/slideLayout" Target="../slideLayouts/slideLayout1020.xml"/><Relationship Id="rId9" Type="http://schemas.openxmlformats.org/officeDocument/2006/relationships/slideLayout" Target="../slideLayouts/slideLayout1025.xml"/><Relationship Id="rId14" Type="http://schemas.openxmlformats.org/officeDocument/2006/relationships/image" Target="../media/image1.jpeg"/></Relationships>
</file>

<file path=ppt/slideMasters/_rels/slideMaster10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6.xml"/><Relationship Id="rId13" Type="http://schemas.openxmlformats.org/officeDocument/2006/relationships/theme" Target="../theme/theme101.xml"/><Relationship Id="rId3" Type="http://schemas.openxmlformats.org/officeDocument/2006/relationships/slideLayout" Target="../slideLayouts/slideLayout1031.xml"/><Relationship Id="rId7" Type="http://schemas.openxmlformats.org/officeDocument/2006/relationships/slideLayout" Target="../slideLayouts/slideLayout1035.xml"/><Relationship Id="rId12" Type="http://schemas.openxmlformats.org/officeDocument/2006/relationships/slideLayout" Target="../slideLayouts/slideLayout1040.xml"/><Relationship Id="rId2" Type="http://schemas.openxmlformats.org/officeDocument/2006/relationships/slideLayout" Target="../slideLayouts/slideLayout1030.xml"/><Relationship Id="rId1" Type="http://schemas.openxmlformats.org/officeDocument/2006/relationships/slideLayout" Target="../slideLayouts/slideLayout1029.xml"/><Relationship Id="rId6" Type="http://schemas.openxmlformats.org/officeDocument/2006/relationships/slideLayout" Target="../slideLayouts/slideLayout1034.xml"/><Relationship Id="rId11" Type="http://schemas.openxmlformats.org/officeDocument/2006/relationships/slideLayout" Target="../slideLayouts/slideLayout1039.xml"/><Relationship Id="rId5" Type="http://schemas.openxmlformats.org/officeDocument/2006/relationships/slideLayout" Target="../slideLayouts/slideLayout1033.xml"/><Relationship Id="rId10" Type="http://schemas.openxmlformats.org/officeDocument/2006/relationships/slideLayout" Target="../slideLayouts/slideLayout1038.xml"/><Relationship Id="rId4" Type="http://schemas.openxmlformats.org/officeDocument/2006/relationships/slideLayout" Target="../slideLayouts/slideLayout1032.xml"/><Relationship Id="rId9" Type="http://schemas.openxmlformats.org/officeDocument/2006/relationships/slideLayout" Target="../slideLayouts/slideLayout1037.xml"/><Relationship Id="rId14" Type="http://schemas.openxmlformats.org/officeDocument/2006/relationships/image" Target="../media/image20.jpeg"/></Relationships>
</file>

<file path=ppt/slideMasters/_rels/slideMaster10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8.xml"/><Relationship Id="rId13" Type="http://schemas.openxmlformats.org/officeDocument/2006/relationships/slideLayout" Target="../slideLayouts/slideLayout1053.xml"/><Relationship Id="rId3" Type="http://schemas.openxmlformats.org/officeDocument/2006/relationships/slideLayout" Target="../slideLayouts/slideLayout1043.xml"/><Relationship Id="rId7" Type="http://schemas.openxmlformats.org/officeDocument/2006/relationships/slideLayout" Target="../slideLayouts/slideLayout1047.xml"/><Relationship Id="rId12" Type="http://schemas.openxmlformats.org/officeDocument/2006/relationships/slideLayout" Target="../slideLayouts/slideLayout1052.xml"/><Relationship Id="rId2" Type="http://schemas.openxmlformats.org/officeDocument/2006/relationships/slideLayout" Target="../slideLayouts/slideLayout1042.xml"/><Relationship Id="rId1" Type="http://schemas.openxmlformats.org/officeDocument/2006/relationships/slideLayout" Target="../slideLayouts/slideLayout1041.xml"/><Relationship Id="rId6" Type="http://schemas.openxmlformats.org/officeDocument/2006/relationships/slideLayout" Target="../slideLayouts/slideLayout1046.xml"/><Relationship Id="rId11" Type="http://schemas.openxmlformats.org/officeDocument/2006/relationships/slideLayout" Target="../slideLayouts/slideLayout1051.xml"/><Relationship Id="rId5" Type="http://schemas.openxmlformats.org/officeDocument/2006/relationships/slideLayout" Target="../slideLayouts/slideLayout1045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1050.xml"/><Relationship Id="rId4" Type="http://schemas.openxmlformats.org/officeDocument/2006/relationships/slideLayout" Target="../slideLayouts/slideLayout1044.xml"/><Relationship Id="rId9" Type="http://schemas.openxmlformats.org/officeDocument/2006/relationships/slideLayout" Target="../slideLayouts/slideLayout1049.xml"/><Relationship Id="rId14" Type="http://schemas.openxmlformats.org/officeDocument/2006/relationships/theme" Target="../theme/theme102.xml"/></Relationships>
</file>

<file path=ppt/slideMasters/_rels/slideMaster10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1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056.xml"/><Relationship Id="rId7" Type="http://schemas.openxmlformats.org/officeDocument/2006/relationships/slideLayout" Target="../slideLayouts/slideLayout1060.xml"/><Relationship Id="rId12" Type="http://schemas.openxmlformats.org/officeDocument/2006/relationships/theme" Target="../theme/theme103.xml"/><Relationship Id="rId2" Type="http://schemas.openxmlformats.org/officeDocument/2006/relationships/slideLayout" Target="../slideLayouts/slideLayout1055.xml"/><Relationship Id="rId1" Type="http://schemas.openxmlformats.org/officeDocument/2006/relationships/slideLayout" Target="../slideLayouts/slideLayout1054.xml"/><Relationship Id="rId6" Type="http://schemas.openxmlformats.org/officeDocument/2006/relationships/slideLayout" Target="../slideLayouts/slideLayout1059.xml"/><Relationship Id="rId11" Type="http://schemas.openxmlformats.org/officeDocument/2006/relationships/slideLayout" Target="../slideLayouts/slideLayout1064.xml"/><Relationship Id="rId5" Type="http://schemas.openxmlformats.org/officeDocument/2006/relationships/slideLayout" Target="../slideLayouts/slideLayout1058.xml"/><Relationship Id="rId10" Type="http://schemas.openxmlformats.org/officeDocument/2006/relationships/slideLayout" Target="../slideLayouts/slideLayout1063.xml"/><Relationship Id="rId4" Type="http://schemas.openxmlformats.org/officeDocument/2006/relationships/slideLayout" Target="../slideLayouts/slideLayout1057.xml"/><Relationship Id="rId9" Type="http://schemas.openxmlformats.org/officeDocument/2006/relationships/slideLayout" Target="../slideLayouts/slideLayout1062.xml"/></Relationships>
</file>

<file path=ppt/slideMasters/_rels/slideMaster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104.xml"/><Relationship Id="rId1" Type="http://schemas.openxmlformats.org/officeDocument/2006/relationships/slideLayout" Target="../slideLayouts/slideLayout1065.xml"/></Relationships>
</file>

<file path=ppt/slideMasters/_rels/slideMaster10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3.xml"/><Relationship Id="rId13" Type="http://schemas.openxmlformats.org/officeDocument/2006/relationships/slideLayout" Target="../slideLayouts/slideLayout1078.xml"/><Relationship Id="rId3" Type="http://schemas.openxmlformats.org/officeDocument/2006/relationships/slideLayout" Target="../slideLayouts/slideLayout1068.xml"/><Relationship Id="rId7" Type="http://schemas.openxmlformats.org/officeDocument/2006/relationships/slideLayout" Target="../slideLayouts/slideLayout1072.xml"/><Relationship Id="rId12" Type="http://schemas.openxmlformats.org/officeDocument/2006/relationships/slideLayout" Target="../slideLayouts/slideLayout1077.xml"/><Relationship Id="rId2" Type="http://schemas.openxmlformats.org/officeDocument/2006/relationships/slideLayout" Target="../slideLayouts/slideLayout1067.xml"/><Relationship Id="rId1" Type="http://schemas.openxmlformats.org/officeDocument/2006/relationships/slideLayout" Target="../slideLayouts/slideLayout1066.xml"/><Relationship Id="rId6" Type="http://schemas.openxmlformats.org/officeDocument/2006/relationships/slideLayout" Target="../slideLayouts/slideLayout1071.xml"/><Relationship Id="rId11" Type="http://schemas.openxmlformats.org/officeDocument/2006/relationships/slideLayout" Target="../slideLayouts/slideLayout1076.xml"/><Relationship Id="rId5" Type="http://schemas.openxmlformats.org/officeDocument/2006/relationships/slideLayout" Target="../slideLayouts/slideLayout107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75.xml"/><Relationship Id="rId4" Type="http://schemas.openxmlformats.org/officeDocument/2006/relationships/slideLayout" Target="../slideLayouts/slideLayout1069.xml"/><Relationship Id="rId9" Type="http://schemas.openxmlformats.org/officeDocument/2006/relationships/slideLayout" Target="../slideLayouts/slideLayout1074.xml"/><Relationship Id="rId14" Type="http://schemas.openxmlformats.org/officeDocument/2006/relationships/theme" Target="../theme/theme105.xml"/></Relationships>
</file>

<file path=ppt/slideMasters/_rels/slideMaster10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81.xml"/><Relationship Id="rId2" Type="http://schemas.openxmlformats.org/officeDocument/2006/relationships/slideLayout" Target="../slideLayouts/slideLayout1080.xml"/><Relationship Id="rId1" Type="http://schemas.openxmlformats.org/officeDocument/2006/relationships/slideLayout" Target="../slideLayouts/slideLayout1079.xml"/><Relationship Id="rId6" Type="http://schemas.openxmlformats.org/officeDocument/2006/relationships/image" Target="../media/image1.jpeg"/><Relationship Id="rId5" Type="http://schemas.openxmlformats.org/officeDocument/2006/relationships/theme" Target="../theme/theme106.xml"/><Relationship Id="rId4" Type="http://schemas.openxmlformats.org/officeDocument/2006/relationships/slideLayout" Target="../slideLayouts/slideLayout1082.xml"/></Relationships>
</file>

<file path=ppt/slideMasters/_rels/slideMaster10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0.xml"/><Relationship Id="rId13" Type="http://schemas.openxmlformats.org/officeDocument/2006/relationships/slideLayout" Target="../slideLayouts/slideLayout1095.xml"/><Relationship Id="rId3" Type="http://schemas.openxmlformats.org/officeDocument/2006/relationships/slideLayout" Target="../slideLayouts/slideLayout1085.xml"/><Relationship Id="rId7" Type="http://schemas.openxmlformats.org/officeDocument/2006/relationships/slideLayout" Target="../slideLayouts/slideLayout1089.xml"/><Relationship Id="rId12" Type="http://schemas.openxmlformats.org/officeDocument/2006/relationships/slideLayout" Target="../slideLayouts/slideLayout1094.xml"/><Relationship Id="rId2" Type="http://schemas.openxmlformats.org/officeDocument/2006/relationships/slideLayout" Target="../slideLayouts/slideLayout1084.xml"/><Relationship Id="rId1" Type="http://schemas.openxmlformats.org/officeDocument/2006/relationships/slideLayout" Target="../slideLayouts/slideLayout1083.xml"/><Relationship Id="rId6" Type="http://schemas.openxmlformats.org/officeDocument/2006/relationships/slideLayout" Target="../slideLayouts/slideLayout1088.xml"/><Relationship Id="rId11" Type="http://schemas.openxmlformats.org/officeDocument/2006/relationships/slideLayout" Target="../slideLayouts/slideLayout1093.xml"/><Relationship Id="rId5" Type="http://schemas.openxmlformats.org/officeDocument/2006/relationships/slideLayout" Target="../slideLayouts/slideLayout1087.xml"/><Relationship Id="rId15" Type="http://schemas.openxmlformats.org/officeDocument/2006/relationships/image" Target="../media/image8.jpeg"/><Relationship Id="rId10" Type="http://schemas.openxmlformats.org/officeDocument/2006/relationships/slideLayout" Target="../slideLayouts/slideLayout1092.xml"/><Relationship Id="rId4" Type="http://schemas.openxmlformats.org/officeDocument/2006/relationships/slideLayout" Target="../slideLayouts/slideLayout1086.xml"/><Relationship Id="rId9" Type="http://schemas.openxmlformats.org/officeDocument/2006/relationships/slideLayout" Target="../slideLayouts/slideLayout1091.xml"/><Relationship Id="rId14" Type="http://schemas.openxmlformats.org/officeDocument/2006/relationships/theme" Target="../theme/theme107.xml"/></Relationships>
</file>

<file path=ppt/slideMasters/_rels/slideMaster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108.xml"/><Relationship Id="rId1" Type="http://schemas.openxmlformats.org/officeDocument/2006/relationships/slideLayout" Target="../slideLayouts/slideLayout1096.xml"/></Relationships>
</file>

<file path=ppt/slideMasters/_rels/slideMaster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1099.xml"/><Relationship Id="rId7" Type="http://schemas.openxmlformats.org/officeDocument/2006/relationships/theme" Target="../theme/theme109.xml"/><Relationship Id="rId2" Type="http://schemas.openxmlformats.org/officeDocument/2006/relationships/slideLayout" Target="../slideLayouts/slideLayout1098.xml"/><Relationship Id="rId1" Type="http://schemas.openxmlformats.org/officeDocument/2006/relationships/slideLayout" Target="../slideLayouts/slideLayout1097.xml"/><Relationship Id="rId6" Type="http://schemas.openxmlformats.org/officeDocument/2006/relationships/slideLayout" Target="../slideLayouts/slideLayout1102.xml"/><Relationship Id="rId5" Type="http://schemas.openxmlformats.org/officeDocument/2006/relationships/slideLayout" Target="../slideLayouts/slideLayout1101.xml"/><Relationship Id="rId4" Type="http://schemas.openxmlformats.org/officeDocument/2006/relationships/slideLayout" Target="../slideLayouts/slideLayout110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image" Target="../media/image1.jpeg"/></Relationships>
</file>

<file path=ppt/slideMasters/_rels/slideMaster1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0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1105.xml"/><Relationship Id="rId7" Type="http://schemas.openxmlformats.org/officeDocument/2006/relationships/slideLayout" Target="../slideLayouts/slideLayout1109.xml"/><Relationship Id="rId12" Type="http://schemas.openxmlformats.org/officeDocument/2006/relationships/theme" Target="../theme/theme110.xml"/><Relationship Id="rId2" Type="http://schemas.openxmlformats.org/officeDocument/2006/relationships/slideLayout" Target="../slideLayouts/slideLayout1104.xml"/><Relationship Id="rId1" Type="http://schemas.openxmlformats.org/officeDocument/2006/relationships/slideLayout" Target="../slideLayouts/slideLayout1103.xml"/><Relationship Id="rId6" Type="http://schemas.openxmlformats.org/officeDocument/2006/relationships/slideLayout" Target="../slideLayouts/slideLayout1108.xml"/><Relationship Id="rId11" Type="http://schemas.openxmlformats.org/officeDocument/2006/relationships/slideLayout" Target="../slideLayouts/slideLayout1113.xml"/><Relationship Id="rId5" Type="http://schemas.openxmlformats.org/officeDocument/2006/relationships/slideLayout" Target="../slideLayouts/slideLayout1107.xml"/><Relationship Id="rId10" Type="http://schemas.openxmlformats.org/officeDocument/2006/relationships/slideLayout" Target="../slideLayouts/slideLayout1112.xml"/><Relationship Id="rId4" Type="http://schemas.openxmlformats.org/officeDocument/2006/relationships/slideLayout" Target="../slideLayouts/slideLayout1106.xml"/><Relationship Id="rId9" Type="http://schemas.openxmlformats.org/officeDocument/2006/relationships/slideLayout" Target="../slideLayouts/slideLayout1111.xml"/></Relationships>
</file>

<file path=ppt/slideMasters/_rels/slideMaster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111.xml"/><Relationship Id="rId1" Type="http://schemas.openxmlformats.org/officeDocument/2006/relationships/slideLayout" Target="../slideLayouts/slideLayout1114.xml"/></Relationships>
</file>

<file path=ppt/slideMasters/_rels/slideMaster1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2.xml"/><Relationship Id="rId13" Type="http://schemas.openxmlformats.org/officeDocument/2006/relationships/slideLayout" Target="../slideLayouts/slideLayout1127.xml"/><Relationship Id="rId18" Type="http://schemas.openxmlformats.org/officeDocument/2006/relationships/slideLayout" Target="../slideLayouts/slideLayout1132.xml"/><Relationship Id="rId3" Type="http://schemas.openxmlformats.org/officeDocument/2006/relationships/slideLayout" Target="../slideLayouts/slideLayout1117.xml"/><Relationship Id="rId21" Type="http://schemas.openxmlformats.org/officeDocument/2006/relationships/image" Target="../media/image10.jpeg"/><Relationship Id="rId7" Type="http://schemas.openxmlformats.org/officeDocument/2006/relationships/slideLayout" Target="../slideLayouts/slideLayout1121.xml"/><Relationship Id="rId12" Type="http://schemas.openxmlformats.org/officeDocument/2006/relationships/slideLayout" Target="../slideLayouts/slideLayout1126.xml"/><Relationship Id="rId17" Type="http://schemas.openxmlformats.org/officeDocument/2006/relationships/slideLayout" Target="../slideLayouts/slideLayout1131.xml"/><Relationship Id="rId2" Type="http://schemas.openxmlformats.org/officeDocument/2006/relationships/slideLayout" Target="../slideLayouts/slideLayout1116.xml"/><Relationship Id="rId16" Type="http://schemas.openxmlformats.org/officeDocument/2006/relationships/slideLayout" Target="../slideLayouts/slideLayout1130.xml"/><Relationship Id="rId20" Type="http://schemas.openxmlformats.org/officeDocument/2006/relationships/theme" Target="../theme/theme112.xml"/><Relationship Id="rId1" Type="http://schemas.openxmlformats.org/officeDocument/2006/relationships/slideLayout" Target="../slideLayouts/slideLayout1115.xml"/><Relationship Id="rId6" Type="http://schemas.openxmlformats.org/officeDocument/2006/relationships/slideLayout" Target="../slideLayouts/slideLayout1120.xml"/><Relationship Id="rId11" Type="http://schemas.openxmlformats.org/officeDocument/2006/relationships/slideLayout" Target="../slideLayouts/slideLayout1125.xml"/><Relationship Id="rId5" Type="http://schemas.openxmlformats.org/officeDocument/2006/relationships/slideLayout" Target="../slideLayouts/slideLayout1119.xml"/><Relationship Id="rId15" Type="http://schemas.openxmlformats.org/officeDocument/2006/relationships/slideLayout" Target="../slideLayouts/slideLayout1129.xml"/><Relationship Id="rId10" Type="http://schemas.openxmlformats.org/officeDocument/2006/relationships/slideLayout" Target="../slideLayouts/slideLayout1124.xml"/><Relationship Id="rId19" Type="http://schemas.openxmlformats.org/officeDocument/2006/relationships/slideLayout" Target="../slideLayouts/slideLayout1133.xml"/><Relationship Id="rId4" Type="http://schemas.openxmlformats.org/officeDocument/2006/relationships/slideLayout" Target="../slideLayouts/slideLayout1118.xml"/><Relationship Id="rId9" Type="http://schemas.openxmlformats.org/officeDocument/2006/relationships/slideLayout" Target="../slideLayouts/slideLayout1123.xml"/><Relationship Id="rId14" Type="http://schemas.openxmlformats.org/officeDocument/2006/relationships/slideLayout" Target="../slideLayouts/slideLayout1128.xml"/></Relationships>
</file>

<file path=ppt/slideMasters/_rels/slideMaster1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1.xml"/><Relationship Id="rId13" Type="http://schemas.openxmlformats.org/officeDocument/2006/relationships/slideLayout" Target="../slideLayouts/slideLayout1146.xml"/><Relationship Id="rId18" Type="http://schemas.openxmlformats.org/officeDocument/2006/relationships/slideLayout" Target="../slideLayouts/slideLayout1151.xml"/><Relationship Id="rId3" Type="http://schemas.openxmlformats.org/officeDocument/2006/relationships/slideLayout" Target="../slideLayouts/slideLayout1136.xml"/><Relationship Id="rId7" Type="http://schemas.openxmlformats.org/officeDocument/2006/relationships/slideLayout" Target="../slideLayouts/slideLayout1140.xml"/><Relationship Id="rId12" Type="http://schemas.openxmlformats.org/officeDocument/2006/relationships/slideLayout" Target="../slideLayouts/slideLayout1145.xml"/><Relationship Id="rId17" Type="http://schemas.openxmlformats.org/officeDocument/2006/relationships/slideLayout" Target="../slideLayouts/slideLayout1150.xml"/><Relationship Id="rId2" Type="http://schemas.openxmlformats.org/officeDocument/2006/relationships/slideLayout" Target="../slideLayouts/slideLayout1135.xml"/><Relationship Id="rId16" Type="http://schemas.openxmlformats.org/officeDocument/2006/relationships/slideLayout" Target="../slideLayouts/slideLayout1149.xml"/><Relationship Id="rId20" Type="http://schemas.openxmlformats.org/officeDocument/2006/relationships/image" Target="../media/image7.jpeg"/><Relationship Id="rId1" Type="http://schemas.openxmlformats.org/officeDocument/2006/relationships/slideLayout" Target="../slideLayouts/slideLayout1134.xml"/><Relationship Id="rId6" Type="http://schemas.openxmlformats.org/officeDocument/2006/relationships/slideLayout" Target="../slideLayouts/slideLayout1139.xml"/><Relationship Id="rId11" Type="http://schemas.openxmlformats.org/officeDocument/2006/relationships/slideLayout" Target="../slideLayouts/slideLayout1144.xml"/><Relationship Id="rId5" Type="http://schemas.openxmlformats.org/officeDocument/2006/relationships/slideLayout" Target="../slideLayouts/slideLayout1138.xml"/><Relationship Id="rId15" Type="http://schemas.openxmlformats.org/officeDocument/2006/relationships/slideLayout" Target="../slideLayouts/slideLayout1148.xml"/><Relationship Id="rId10" Type="http://schemas.openxmlformats.org/officeDocument/2006/relationships/slideLayout" Target="../slideLayouts/slideLayout1143.xml"/><Relationship Id="rId19" Type="http://schemas.openxmlformats.org/officeDocument/2006/relationships/theme" Target="../theme/theme113.xml"/><Relationship Id="rId4" Type="http://schemas.openxmlformats.org/officeDocument/2006/relationships/slideLayout" Target="../slideLayouts/slideLayout1137.xml"/><Relationship Id="rId9" Type="http://schemas.openxmlformats.org/officeDocument/2006/relationships/slideLayout" Target="../slideLayouts/slideLayout1142.xml"/><Relationship Id="rId14" Type="http://schemas.openxmlformats.org/officeDocument/2006/relationships/slideLayout" Target="../slideLayouts/slideLayout1147.xml"/></Relationships>
</file>

<file path=ppt/slideMasters/_rels/slideMaster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154.xml"/><Relationship Id="rId7" Type="http://schemas.openxmlformats.org/officeDocument/2006/relationships/theme" Target="../theme/theme114.xml"/><Relationship Id="rId2" Type="http://schemas.openxmlformats.org/officeDocument/2006/relationships/slideLayout" Target="../slideLayouts/slideLayout1153.xml"/><Relationship Id="rId1" Type="http://schemas.openxmlformats.org/officeDocument/2006/relationships/slideLayout" Target="../slideLayouts/slideLayout1152.xml"/><Relationship Id="rId6" Type="http://schemas.openxmlformats.org/officeDocument/2006/relationships/slideLayout" Target="../slideLayouts/slideLayout1157.xml"/><Relationship Id="rId5" Type="http://schemas.openxmlformats.org/officeDocument/2006/relationships/slideLayout" Target="../slideLayouts/slideLayout1156.xml"/><Relationship Id="rId4" Type="http://schemas.openxmlformats.org/officeDocument/2006/relationships/slideLayout" Target="../slideLayouts/slideLayout1155.xml"/></Relationships>
</file>

<file path=ppt/slideMasters/_rels/slideMaster1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5.xml"/><Relationship Id="rId13" Type="http://schemas.openxmlformats.org/officeDocument/2006/relationships/slideLayout" Target="../slideLayouts/slideLayout1170.xml"/><Relationship Id="rId3" Type="http://schemas.openxmlformats.org/officeDocument/2006/relationships/slideLayout" Target="../slideLayouts/slideLayout1160.xml"/><Relationship Id="rId7" Type="http://schemas.openxmlformats.org/officeDocument/2006/relationships/slideLayout" Target="../slideLayouts/slideLayout1164.xml"/><Relationship Id="rId12" Type="http://schemas.openxmlformats.org/officeDocument/2006/relationships/slideLayout" Target="../slideLayouts/slideLayout1169.xml"/><Relationship Id="rId2" Type="http://schemas.openxmlformats.org/officeDocument/2006/relationships/slideLayout" Target="../slideLayouts/slideLayout1159.xml"/><Relationship Id="rId1" Type="http://schemas.openxmlformats.org/officeDocument/2006/relationships/slideLayout" Target="../slideLayouts/slideLayout1158.xml"/><Relationship Id="rId6" Type="http://schemas.openxmlformats.org/officeDocument/2006/relationships/slideLayout" Target="../slideLayouts/slideLayout1163.xml"/><Relationship Id="rId11" Type="http://schemas.openxmlformats.org/officeDocument/2006/relationships/slideLayout" Target="../slideLayouts/slideLayout1168.xml"/><Relationship Id="rId5" Type="http://schemas.openxmlformats.org/officeDocument/2006/relationships/slideLayout" Target="../slideLayouts/slideLayout1162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167.xml"/><Relationship Id="rId4" Type="http://schemas.openxmlformats.org/officeDocument/2006/relationships/slideLayout" Target="../slideLayouts/slideLayout1161.xml"/><Relationship Id="rId9" Type="http://schemas.openxmlformats.org/officeDocument/2006/relationships/slideLayout" Target="../slideLayouts/slideLayout1166.xml"/><Relationship Id="rId14" Type="http://schemas.openxmlformats.org/officeDocument/2006/relationships/theme" Target="../theme/theme115.xml"/></Relationships>
</file>

<file path=ppt/slideMasters/_rels/slideMaster1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78.xml"/><Relationship Id="rId13" Type="http://schemas.openxmlformats.org/officeDocument/2006/relationships/slideLayout" Target="../slideLayouts/slideLayout1183.xml"/><Relationship Id="rId18" Type="http://schemas.openxmlformats.org/officeDocument/2006/relationships/slideLayout" Target="../slideLayouts/slideLayout1188.xml"/><Relationship Id="rId3" Type="http://schemas.openxmlformats.org/officeDocument/2006/relationships/slideLayout" Target="../slideLayouts/slideLayout1173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177.xml"/><Relationship Id="rId12" Type="http://schemas.openxmlformats.org/officeDocument/2006/relationships/slideLayout" Target="../slideLayouts/slideLayout1182.xml"/><Relationship Id="rId17" Type="http://schemas.openxmlformats.org/officeDocument/2006/relationships/slideLayout" Target="../slideLayouts/slideLayout1187.xml"/><Relationship Id="rId2" Type="http://schemas.openxmlformats.org/officeDocument/2006/relationships/slideLayout" Target="../slideLayouts/slideLayout1172.xml"/><Relationship Id="rId16" Type="http://schemas.openxmlformats.org/officeDocument/2006/relationships/slideLayout" Target="../slideLayouts/slideLayout1186.xml"/><Relationship Id="rId20" Type="http://schemas.openxmlformats.org/officeDocument/2006/relationships/theme" Target="../theme/theme116.xml"/><Relationship Id="rId1" Type="http://schemas.openxmlformats.org/officeDocument/2006/relationships/slideLayout" Target="../slideLayouts/slideLayout1171.xml"/><Relationship Id="rId6" Type="http://schemas.openxmlformats.org/officeDocument/2006/relationships/slideLayout" Target="../slideLayouts/slideLayout1176.xml"/><Relationship Id="rId11" Type="http://schemas.openxmlformats.org/officeDocument/2006/relationships/slideLayout" Target="../slideLayouts/slideLayout1181.xml"/><Relationship Id="rId5" Type="http://schemas.openxmlformats.org/officeDocument/2006/relationships/slideLayout" Target="../slideLayouts/slideLayout1175.xml"/><Relationship Id="rId15" Type="http://schemas.openxmlformats.org/officeDocument/2006/relationships/slideLayout" Target="../slideLayouts/slideLayout1185.xml"/><Relationship Id="rId10" Type="http://schemas.openxmlformats.org/officeDocument/2006/relationships/slideLayout" Target="../slideLayouts/slideLayout1180.xml"/><Relationship Id="rId19" Type="http://schemas.openxmlformats.org/officeDocument/2006/relationships/slideLayout" Target="../slideLayouts/slideLayout1189.xml"/><Relationship Id="rId4" Type="http://schemas.openxmlformats.org/officeDocument/2006/relationships/slideLayout" Target="../slideLayouts/slideLayout1174.xml"/><Relationship Id="rId9" Type="http://schemas.openxmlformats.org/officeDocument/2006/relationships/slideLayout" Target="../slideLayouts/slideLayout1179.xml"/><Relationship Id="rId14" Type="http://schemas.openxmlformats.org/officeDocument/2006/relationships/slideLayout" Target="../slideLayouts/slideLayout1184.xml"/></Relationships>
</file>

<file path=ppt/slideMasters/_rels/slideMaster1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7.xml"/><Relationship Id="rId13" Type="http://schemas.openxmlformats.org/officeDocument/2006/relationships/slideLayout" Target="../slideLayouts/slideLayout1202.xml"/><Relationship Id="rId3" Type="http://schemas.openxmlformats.org/officeDocument/2006/relationships/slideLayout" Target="../slideLayouts/slideLayout1192.xml"/><Relationship Id="rId7" Type="http://schemas.openxmlformats.org/officeDocument/2006/relationships/slideLayout" Target="../slideLayouts/slideLayout1196.xml"/><Relationship Id="rId12" Type="http://schemas.openxmlformats.org/officeDocument/2006/relationships/slideLayout" Target="../slideLayouts/slideLayout1201.xml"/><Relationship Id="rId2" Type="http://schemas.openxmlformats.org/officeDocument/2006/relationships/slideLayout" Target="../slideLayouts/slideLayout1191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1190.xml"/><Relationship Id="rId6" Type="http://schemas.openxmlformats.org/officeDocument/2006/relationships/slideLayout" Target="../slideLayouts/slideLayout1195.xml"/><Relationship Id="rId11" Type="http://schemas.openxmlformats.org/officeDocument/2006/relationships/slideLayout" Target="../slideLayouts/slideLayout1200.xml"/><Relationship Id="rId5" Type="http://schemas.openxmlformats.org/officeDocument/2006/relationships/slideLayout" Target="../slideLayouts/slideLayout1194.xml"/><Relationship Id="rId15" Type="http://schemas.openxmlformats.org/officeDocument/2006/relationships/theme" Target="../theme/theme117.xml"/><Relationship Id="rId10" Type="http://schemas.openxmlformats.org/officeDocument/2006/relationships/slideLayout" Target="../slideLayouts/slideLayout1199.xml"/><Relationship Id="rId4" Type="http://schemas.openxmlformats.org/officeDocument/2006/relationships/slideLayout" Target="../slideLayouts/slideLayout1193.xml"/><Relationship Id="rId9" Type="http://schemas.openxmlformats.org/officeDocument/2006/relationships/slideLayout" Target="../slideLayouts/slideLayout1198.xml"/><Relationship Id="rId14" Type="http://schemas.openxmlformats.org/officeDocument/2006/relationships/slideLayout" Target="../slideLayouts/slideLayout1203.xml"/></Relationships>
</file>

<file path=ppt/slideMasters/_rels/slideMaster1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1.xml"/><Relationship Id="rId13" Type="http://schemas.openxmlformats.org/officeDocument/2006/relationships/slideLayout" Target="../slideLayouts/slideLayout1216.xml"/><Relationship Id="rId18" Type="http://schemas.openxmlformats.org/officeDocument/2006/relationships/slideLayout" Target="../slideLayouts/slideLayout1221.xml"/><Relationship Id="rId3" Type="http://schemas.openxmlformats.org/officeDocument/2006/relationships/slideLayout" Target="../slideLayouts/slideLayout1206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210.xml"/><Relationship Id="rId12" Type="http://schemas.openxmlformats.org/officeDocument/2006/relationships/slideLayout" Target="../slideLayouts/slideLayout1215.xml"/><Relationship Id="rId17" Type="http://schemas.openxmlformats.org/officeDocument/2006/relationships/slideLayout" Target="../slideLayouts/slideLayout1220.xml"/><Relationship Id="rId2" Type="http://schemas.openxmlformats.org/officeDocument/2006/relationships/slideLayout" Target="../slideLayouts/slideLayout1205.xml"/><Relationship Id="rId16" Type="http://schemas.openxmlformats.org/officeDocument/2006/relationships/slideLayout" Target="../slideLayouts/slideLayout1219.xml"/><Relationship Id="rId20" Type="http://schemas.openxmlformats.org/officeDocument/2006/relationships/theme" Target="../theme/theme118.xml"/><Relationship Id="rId1" Type="http://schemas.openxmlformats.org/officeDocument/2006/relationships/slideLayout" Target="../slideLayouts/slideLayout1204.xml"/><Relationship Id="rId6" Type="http://schemas.openxmlformats.org/officeDocument/2006/relationships/slideLayout" Target="../slideLayouts/slideLayout1209.xml"/><Relationship Id="rId11" Type="http://schemas.openxmlformats.org/officeDocument/2006/relationships/slideLayout" Target="../slideLayouts/slideLayout1214.xml"/><Relationship Id="rId5" Type="http://schemas.openxmlformats.org/officeDocument/2006/relationships/slideLayout" Target="../slideLayouts/slideLayout1208.xml"/><Relationship Id="rId15" Type="http://schemas.openxmlformats.org/officeDocument/2006/relationships/slideLayout" Target="../slideLayouts/slideLayout1218.xml"/><Relationship Id="rId10" Type="http://schemas.openxmlformats.org/officeDocument/2006/relationships/slideLayout" Target="../slideLayouts/slideLayout1213.xml"/><Relationship Id="rId19" Type="http://schemas.openxmlformats.org/officeDocument/2006/relationships/slideLayout" Target="../slideLayouts/slideLayout1222.xml"/><Relationship Id="rId4" Type="http://schemas.openxmlformats.org/officeDocument/2006/relationships/slideLayout" Target="../slideLayouts/slideLayout1207.xml"/><Relationship Id="rId9" Type="http://schemas.openxmlformats.org/officeDocument/2006/relationships/slideLayout" Target="../slideLayouts/slideLayout1212.xml"/><Relationship Id="rId14" Type="http://schemas.openxmlformats.org/officeDocument/2006/relationships/slideLayout" Target="../slideLayouts/slideLayout1217.xml"/></Relationships>
</file>

<file path=ppt/slideMasters/_rels/slideMaster1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0.xml"/><Relationship Id="rId3" Type="http://schemas.openxmlformats.org/officeDocument/2006/relationships/slideLayout" Target="../slideLayouts/slideLayout1225.xml"/><Relationship Id="rId7" Type="http://schemas.openxmlformats.org/officeDocument/2006/relationships/slideLayout" Target="../slideLayouts/slideLayout1229.xml"/><Relationship Id="rId12" Type="http://schemas.openxmlformats.org/officeDocument/2006/relationships/theme" Target="../theme/theme119.xml"/><Relationship Id="rId2" Type="http://schemas.openxmlformats.org/officeDocument/2006/relationships/slideLayout" Target="../slideLayouts/slideLayout1224.xml"/><Relationship Id="rId1" Type="http://schemas.openxmlformats.org/officeDocument/2006/relationships/slideLayout" Target="../slideLayouts/slideLayout1223.xml"/><Relationship Id="rId6" Type="http://schemas.openxmlformats.org/officeDocument/2006/relationships/slideLayout" Target="../slideLayouts/slideLayout1228.xml"/><Relationship Id="rId11" Type="http://schemas.openxmlformats.org/officeDocument/2006/relationships/slideLayout" Target="../slideLayouts/slideLayout1233.xml"/><Relationship Id="rId5" Type="http://schemas.openxmlformats.org/officeDocument/2006/relationships/slideLayout" Target="../slideLayouts/slideLayout1227.xml"/><Relationship Id="rId10" Type="http://schemas.openxmlformats.org/officeDocument/2006/relationships/slideLayout" Target="../slideLayouts/slideLayout1232.xml"/><Relationship Id="rId4" Type="http://schemas.openxmlformats.org/officeDocument/2006/relationships/slideLayout" Target="../slideLayouts/slideLayout1226.xml"/><Relationship Id="rId9" Type="http://schemas.openxmlformats.org/officeDocument/2006/relationships/slideLayout" Target="../slideLayouts/slideLayout123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image" Target="../media/image1.jpeg"/></Relationships>
</file>

<file path=ppt/slideMasters/_rels/slideMaster1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1.xml"/><Relationship Id="rId13" Type="http://schemas.openxmlformats.org/officeDocument/2006/relationships/slideLayout" Target="../slideLayouts/slideLayout1246.xml"/><Relationship Id="rId3" Type="http://schemas.openxmlformats.org/officeDocument/2006/relationships/slideLayout" Target="../slideLayouts/slideLayout1236.xml"/><Relationship Id="rId7" Type="http://schemas.openxmlformats.org/officeDocument/2006/relationships/slideLayout" Target="../slideLayouts/slideLayout1240.xml"/><Relationship Id="rId12" Type="http://schemas.openxmlformats.org/officeDocument/2006/relationships/slideLayout" Target="../slideLayouts/slideLayout1245.xml"/><Relationship Id="rId2" Type="http://schemas.openxmlformats.org/officeDocument/2006/relationships/slideLayout" Target="../slideLayouts/slideLayout1235.xml"/><Relationship Id="rId1" Type="http://schemas.openxmlformats.org/officeDocument/2006/relationships/slideLayout" Target="../slideLayouts/slideLayout1234.xml"/><Relationship Id="rId6" Type="http://schemas.openxmlformats.org/officeDocument/2006/relationships/slideLayout" Target="../slideLayouts/slideLayout1239.xml"/><Relationship Id="rId11" Type="http://schemas.openxmlformats.org/officeDocument/2006/relationships/slideLayout" Target="../slideLayouts/slideLayout1244.xml"/><Relationship Id="rId5" Type="http://schemas.openxmlformats.org/officeDocument/2006/relationships/slideLayout" Target="../slideLayouts/slideLayout123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243.xml"/><Relationship Id="rId4" Type="http://schemas.openxmlformats.org/officeDocument/2006/relationships/slideLayout" Target="../slideLayouts/slideLayout1237.xml"/><Relationship Id="rId9" Type="http://schemas.openxmlformats.org/officeDocument/2006/relationships/slideLayout" Target="../slideLayouts/slideLayout1242.xml"/><Relationship Id="rId14" Type="http://schemas.openxmlformats.org/officeDocument/2006/relationships/theme" Target="../theme/theme120.xml"/></Relationships>
</file>

<file path=ppt/slideMasters/_rels/slideMaster1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4.xml"/><Relationship Id="rId13" Type="http://schemas.openxmlformats.org/officeDocument/2006/relationships/slideLayout" Target="../slideLayouts/slideLayout1259.xml"/><Relationship Id="rId18" Type="http://schemas.openxmlformats.org/officeDocument/2006/relationships/slideLayout" Target="../slideLayouts/slideLayout1264.xml"/><Relationship Id="rId3" Type="http://schemas.openxmlformats.org/officeDocument/2006/relationships/slideLayout" Target="../slideLayouts/slideLayout1249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253.xml"/><Relationship Id="rId12" Type="http://schemas.openxmlformats.org/officeDocument/2006/relationships/slideLayout" Target="../slideLayouts/slideLayout1258.xml"/><Relationship Id="rId17" Type="http://schemas.openxmlformats.org/officeDocument/2006/relationships/slideLayout" Target="../slideLayouts/slideLayout1263.xml"/><Relationship Id="rId2" Type="http://schemas.openxmlformats.org/officeDocument/2006/relationships/slideLayout" Target="../slideLayouts/slideLayout1248.xml"/><Relationship Id="rId16" Type="http://schemas.openxmlformats.org/officeDocument/2006/relationships/slideLayout" Target="../slideLayouts/slideLayout1262.xml"/><Relationship Id="rId20" Type="http://schemas.openxmlformats.org/officeDocument/2006/relationships/theme" Target="../theme/theme121.xml"/><Relationship Id="rId1" Type="http://schemas.openxmlformats.org/officeDocument/2006/relationships/slideLayout" Target="../slideLayouts/slideLayout1247.xml"/><Relationship Id="rId6" Type="http://schemas.openxmlformats.org/officeDocument/2006/relationships/slideLayout" Target="../slideLayouts/slideLayout1252.xml"/><Relationship Id="rId11" Type="http://schemas.openxmlformats.org/officeDocument/2006/relationships/slideLayout" Target="../slideLayouts/slideLayout1257.xml"/><Relationship Id="rId5" Type="http://schemas.openxmlformats.org/officeDocument/2006/relationships/slideLayout" Target="../slideLayouts/slideLayout1251.xml"/><Relationship Id="rId15" Type="http://schemas.openxmlformats.org/officeDocument/2006/relationships/slideLayout" Target="../slideLayouts/slideLayout1261.xml"/><Relationship Id="rId10" Type="http://schemas.openxmlformats.org/officeDocument/2006/relationships/slideLayout" Target="../slideLayouts/slideLayout1256.xml"/><Relationship Id="rId19" Type="http://schemas.openxmlformats.org/officeDocument/2006/relationships/slideLayout" Target="../slideLayouts/slideLayout1265.xml"/><Relationship Id="rId4" Type="http://schemas.openxmlformats.org/officeDocument/2006/relationships/slideLayout" Target="../slideLayouts/slideLayout1250.xml"/><Relationship Id="rId9" Type="http://schemas.openxmlformats.org/officeDocument/2006/relationships/slideLayout" Target="../slideLayouts/slideLayout1255.xml"/><Relationship Id="rId14" Type="http://schemas.openxmlformats.org/officeDocument/2006/relationships/slideLayout" Target="../slideLayouts/slideLayout1260.xml"/></Relationships>
</file>

<file path=ppt/slideMasters/_rels/slideMaster1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3.xml"/><Relationship Id="rId13" Type="http://schemas.openxmlformats.org/officeDocument/2006/relationships/slideLayout" Target="../slideLayouts/slideLayout1278.xml"/><Relationship Id="rId18" Type="http://schemas.openxmlformats.org/officeDocument/2006/relationships/slideLayout" Target="../slideLayouts/slideLayout1283.xml"/><Relationship Id="rId3" Type="http://schemas.openxmlformats.org/officeDocument/2006/relationships/slideLayout" Target="../slideLayouts/slideLayout1268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272.xml"/><Relationship Id="rId12" Type="http://schemas.openxmlformats.org/officeDocument/2006/relationships/slideLayout" Target="../slideLayouts/slideLayout1277.xml"/><Relationship Id="rId17" Type="http://schemas.openxmlformats.org/officeDocument/2006/relationships/slideLayout" Target="../slideLayouts/slideLayout1282.xml"/><Relationship Id="rId2" Type="http://schemas.openxmlformats.org/officeDocument/2006/relationships/slideLayout" Target="../slideLayouts/slideLayout1267.xml"/><Relationship Id="rId16" Type="http://schemas.openxmlformats.org/officeDocument/2006/relationships/slideLayout" Target="../slideLayouts/slideLayout1281.xml"/><Relationship Id="rId20" Type="http://schemas.openxmlformats.org/officeDocument/2006/relationships/theme" Target="../theme/theme122.xml"/><Relationship Id="rId1" Type="http://schemas.openxmlformats.org/officeDocument/2006/relationships/slideLayout" Target="../slideLayouts/slideLayout1266.xml"/><Relationship Id="rId6" Type="http://schemas.openxmlformats.org/officeDocument/2006/relationships/slideLayout" Target="../slideLayouts/slideLayout1271.xml"/><Relationship Id="rId11" Type="http://schemas.openxmlformats.org/officeDocument/2006/relationships/slideLayout" Target="../slideLayouts/slideLayout1276.xml"/><Relationship Id="rId5" Type="http://schemas.openxmlformats.org/officeDocument/2006/relationships/slideLayout" Target="../slideLayouts/slideLayout1270.xml"/><Relationship Id="rId15" Type="http://schemas.openxmlformats.org/officeDocument/2006/relationships/slideLayout" Target="../slideLayouts/slideLayout1280.xml"/><Relationship Id="rId10" Type="http://schemas.openxmlformats.org/officeDocument/2006/relationships/slideLayout" Target="../slideLayouts/slideLayout1275.xml"/><Relationship Id="rId19" Type="http://schemas.openxmlformats.org/officeDocument/2006/relationships/slideLayout" Target="../slideLayouts/slideLayout1284.xml"/><Relationship Id="rId4" Type="http://schemas.openxmlformats.org/officeDocument/2006/relationships/slideLayout" Target="../slideLayouts/slideLayout1269.xml"/><Relationship Id="rId9" Type="http://schemas.openxmlformats.org/officeDocument/2006/relationships/slideLayout" Target="../slideLayouts/slideLayout1274.xml"/><Relationship Id="rId14" Type="http://schemas.openxmlformats.org/officeDocument/2006/relationships/slideLayout" Target="../slideLayouts/slideLayout1279.xml"/></Relationships>
</file>

<file path=ppt/slideMasters/_rels/slideMaster1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2.xml"/><Relationship Id="rId13" Type="http://schemas.openxmlformats.org/officeDocument/2006/relationships/slideLayout" Target="../slideLayouts/slideLayout1297.xml"/><Relationship Id="rId18" Type="http://schemas.openxmlformats.org/officeDocument/2006/relationships/slideLayout" Target="../slideLayouts/slideLayout1302.xml"/><Relationship Id="rId3" Type="http://schemas.openxmlformats.org/officeDocument/2006/relationships/slideLayout" Target="../slideLayouts/slideLayout1287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291.xml"/><Relationship Id="rId12" Type="http://schemas.openxmlformats.org/officeDocument/2006/relationships/slideLayout" Target="../slideLayouts/slideLayout1296.xml"/><Relationship Id="rId17" Type="http://schemas.openxmlformats.org/officeDocument/2006/relationships/slideLayout" Target="../slideLayouts/slideLayout1301.xml"/><Relationship Id="rId2" Type="http://schemas.openxmlformats.org/officeDocument/2006/relationships/slideLayout" Target="../slideLayouts/slideLayout1286.xml"/><Relationship Id="rId16" Type="http://schemas.openxmlformats.org/officeDocument/2006/relationships/slideLayout" Target="../slideLayouts/slideLayout1300.xml"/><Relationship Id="rId20" Type="http://schemas.openxmlformats.org/officeDocument/2006/relationships/image" Target="../media/image10.jpeg"/><Relationship Id="rId1" Type="http://schemas.openxmlformats.org/officeDocument/2006/relationships/slideLayout" Target="../slideLayouts/slideLayout1285.xml"/><Relationship Id="rId6" Type="http://schemas.openxmlformats.org/officeDocument/2006/relationships/slideLayout" Target="../slideLayouts/slideLayout1290.xml"/><Relationship Id="rId11" Type="http://schemas.openxmlformats.org/officeDocument/2006/relationships/slideLayout" Target="../slideLayouts/slideLayout1295.xml"/><Relationship Id="rId5" Type="http://schemas.openxmlformats.org/officeDocument/2006/relationships/slideLayout" Target="../slideLayouts/slideLayout1289.xml"/><Relationship Id="rId15" Type="http://schemas.openxmlformats.org/officeDocument/2006/relationships/slideLayout" Target="../slideLayouts/slideLayout1299.xml"/><Relationship Id="rId10" Type="http://schemas.openxmlformats.org/officeDocument/2006/relationships/slideLayout" Target="../slideLayouts/slideLayout1294.xml"/><Relationship Id="rId19" Type="http://schemas.openxmlformats.org/officeDocument/2006/relationships/theme" Target="../theme/theme123.xml"/><Relationship Id="rId4" Type="http://schemas.openxmlformats.org/officeDocument/2006/relationships/slideLayout" Target="../slideLayouts/slideLayout1288.xml"/><Relationship Id="rId9" Type="http://schemas.openxmlformats.org/officeDocument/2006/relationships/slideLayout" Target="../slideLayouts/slideLayout1293.xml"/><Relationship Id="rId14" Type="http://schemas.openxmlformats.org/officeDocument/2006/relationships/slideLayout" Target="../slideLayouts/slideLayout1298.xml"/></Relationships>
</file>

<file path=ppt/slideMasters/_rels/slideMaster1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0.xml"/><Relationship Id="rId13" Type="http://schemas.openxmlformats.org/officeDocument/2006/relationships/slideLayout" Target="../slideLayouts/slideLayout1315.xml"/><Relationship Id="rId18" Type="http://schemas.openxmlformats.org/officeDocument/2006/relationships/slideLayout" Target="../slideLayouts/slideLayout1320.xml"/><Relationship Id="rId3" Type="http://schemas.openxmlformats.org/officeDocument/2006/relationships/slideLayout" Target="../slideLayouts/slideLayout1305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309.xml"/><Relationship Id="rId12" Type="http://schemas.openxmlformats.org/officeDocument/2006/relationships/slideLayout" Target="../slideLayouts/slideLayout1314.xml"/><Relationship Id="rId17" Type="http://schemas.openxmlformats.org/officeDocument/2006/relationships/slideLayout" Target="../slideLayouts/slideLayout1319.xml"/><Relationship Id="rId2" Type="http://schemas.openxmlformats.org/officeDocument/2006/relationships/slideLayout" Target="../slideLayouts/slideLayout1304.xml"/><Relationship Id="rId16" Type="http://schemas.openxmlformats.org/officeDocument/2006/relationships/slideLayout" Target="../slideLayouts/slideLayout1318.xml"/><Relationship Id="rId20" Type="http://schemas.openxmlformats.org/officeDocument/2006/relationships/theme" Target="../theme/theme124.xml"/><Relationship Id="rId1" Type="http://schemas.openxmlformats.org/officeDocument/2006/relationships/slideLayout" Target="../slideLayouts/slideLayout1303.xml"/><Relationship Id="rId6" Type="http://schemas.openxmlformats.org/officeDocument/2006/relationships/slideLayout" Target="../slideLayouts/slideLayout1308.xml"/><Relationship Id="rId11" Type="http://schemas.openxmlformats.org/officeDocument/2006/relationships/slideLayout" Target="../slideLayouts/slideLayout1313.xml"/><Relationship Id="rId5" Type="http://schemas.openxmlformats.org/officeDocument/2006/relationships/slideLayout" Target="../slideLayouts/slideLayout1307.xml"/><Relationship Id="rId15" Type="http://schemas.openxmlformats.org/officeDocument/2006/relationships/slideLayout" Target="../slideLayouts/slideLayout1317.xml"/><Relationship Id="rId10" Type="http://schemas.openxmlformats.org/officeDocument/2006/relationships/slideLayout" Target="../slideLayouts/slideLayout1312.xml"/><Relationship Id="rId19" Type="http://schemas.openxmlformats.org/officeDocument/2006/relationships/slideLayout" Target="../slideLayouts/slideLayout1321.xml"/><Relationship Id="rId4" Type="http://schemas.openxmlformats.org/officeDocument/2006/relationships/slideLayout" Target="../slideLayouts/slideLayout1306.xml"/><Relationship Id="rId9" Type="http://schemas.openxmlformats.org/officeDocument/2006/relationships/slideLayout" Target="../slideLayouts/slideLayout1311.xml"/><Relationship Id="rId14" Type="http://schemas.openxmlformats.org/officeDocument/2006/relationships/slideLayout" Target="../slideLayouts/slideLayout1316.xml"/></Relationships>
</file>

<file path=ppt/slideMasters/_rels/slideMaster1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9.xml"/><Relationship Id="rId13" Type="http://schemas.openxmlformats.org/officeDocument/2006/relationships/slideLayout" Target="../slideLayouts/slideLayout1334.xml"/><Relationship Id="rId18" Type="http://schemas.openxmlformats.org/officeDocument/2006/relationships/slideLayout" Target="../slideLayouts/slideLayout1339.xml"/><Relationship Id="rId3" Type="http://schemas.openxmlformats.org/officeDocument/2006/relationships/slideLayout" Target="../slideLayouts/slideLayout1324.xml"/><Relationship Id="rId21" Type="http://schemas.openxmlformats.org/officeDocument/2006/relationships/image" Target="../media/image7.jpeg"/><Relationship Id="rId7" Type="http://schemas.openxmlformats.org/officeDocument/2006/relationships/slideLayout" Target="../slideLayouts/slideLayout1328.xml"/><Relationship Id="rId12" Type="http://schemas.openxmlformats.org/officeDocument/2006/relationships/slideLayout" Target="../slideLayouts/slideLayout1333.xml"/><Relationship Id="rId17" Type="http://schemas.openxmlformats.org/officeDocument/2006/relationships/slideLayout" Target="../slideLayouts/slideLayout1338.xml"/><Relationship Id="rId2" Type="http://schemas.openxmlformats.org/officeDocument/2006/relationships/slideLayout" Target="../slideLayouts/slideLayout1323.xml"/><Relationship Id="rId16" Type="http://schemas.openxmlformats.org/officeDocument/2006/relationships/slideLayout" Target="../slideLayouts/slideLayout1337.xml"/><Relationship Id="rId20" Type="http://schemas.openxmlformats.org/officeDocument/2006/relationships/image" Target="../media/image10.jpeg"/><Relationship Id="rId1" Type="http://schemas.openxmlformats.org/officeDocument/2006/relationships/slideLayout" Target="../slideLayouts/slideLayout1322.xml"/><Relationship Id="rId6" Type="http://schemas.openxmlformats.org/officeDocument/2006/relationships/slideLayout" Target="../slideLayouts/slideLayout1327.xml"/><Relationship Id="rId11" Type="http://schemas.openxmlformats.org/officeDocument/2006/relationships/slideLayout" Target="../slideLayouts/slideLayout1332.xml"/><Relationship Id="rId5" Type="http://schemas.openxmlformats.org/officeDocument/2006/relationships/slideLayout" Target="../slideLayouts/slideLayout1326.xml"/><Relationship Id="rId15" Type="http://schemas.openxmlformats.org/officeDocument/2006/relationships/slideLayout" Target="../slideLayouts/slideLayout1336.xml"/><Relationship Id="rId10" Type="http://schemas.openxmlformats.org/officeDocument/2006/relationships/slideLayout" Target="../slideLayouts/slideLayout1331.xml"/><Relationship Id="rId19" Type="http://schemas.openxmlformats.org/officeDocument/2006/relationships/theme" Target="../theme/theme125.xml"/><Relationship Id="rId4" Type="http://schemas.openxmlformats.org/officeDocument/2006/relationships/slideLayout" Target="../slideLayouts/slideLayout1325.xml"/><Relationship Id="rId9" Type="http://schemas.openxmlformats.org/officeDocument/2006/relationships/slideLayout" Target="../slideLayouts/slideLayout1330.xml"/><Relationship Id="rId14" Type="http://schemas.openxmlformats.org/officeDocument/2006/relationships/slideLayout" Target="../slideLayouts/slideLayout1335.xml"/></Relationships>
</file>

<file path=ppt/slideMasters/_rels/slideMaster1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7.xml"/><Relationship Id="rId13" Type="http://schemas.openxmlformats.org/officeDocument/2006/relationships/slideLayout" Target="../slideLayouts/slideLayout1352.xml"/><Relationship Id="rId3" Type="http://schemas.openxmlformats.org/officeDocument/2006/relationships/slideLayout" Target="../slideLayouts/slideLayout1342.xml"/><Relationship Id="rId7" Type="http://schemas.openxmlformats.org/officeDocument/2006/relationships/slideLayout" Target="../slideLayouts/slideLayout1346.xml"/><Relationship Id="rId12" Type="http://schemas.openxmlformats.org/officeDocument/2006/relationships/slideLayout" Target="../slideLayouts/slideLayout1351.xml"/><Relationship Id="rId2" Type="http://schemas.openxmlformats.org/officeDocument/2006/relationships/slideLayout" Target="../slideLayouts/slideLayout1341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1340.xml"/><Relationship Id="rId6" Type="http://schemas.openxmlformats.org/officeDocument/2006/relationships/slideLayout" Target="../slideLayouts/slideLayout1345.xml"/><Relationship Id="rId11" Type="http://schemas.openxmlformats.org/officeDocument/2006/relationships/slideLayout" Target="../slideLayouts/slideLayout1350.xml"/><Relationship Id="rId5" Type="http://schemas.openxmlformats.org/officeDocument/2006/relationships/slideLayout" Target="../slideLayouts/slideLayout1344.xml"/><Relationship Id="rId15" Type="http://schemas.openxmlformats.org/officeDocument/2006/relationships/theme" Target="../theme/theme126.xml"/><Relationship Id="rId10" Type="http://schemas.openxmlformats.org/officeDocument/2006/relationships/slideLayout" Target="../slideLayouts/slideLayout1349.xml"/><Relationship Id="rId4" Type="http://schemas.openxmlformats.org/officeDocument/2006/relationships/slideLayout" Target="../slideLayouts/slideLayout1343.xml"/><Relationship Id="rId9" Type="http://schemas.openxmlformats.org/officeDocument/2006/relationships/slideLayout" Target="../slideLayouts/slideLayout1348.xml"/><Relationship Id="rId14" Type="http://schemas.openxmlformats.org/officeDocument/2006/relationships/slideLayout" Target="../slideLayouts/slideLayout1353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5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50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49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5" Type="http://schemas.openxmlformats.org/officeDocument/2006/relationships/slideLayout" Target="../slideLayouts/slideLayout152.xml"/><Relationship Id="rId10" Type="http://schemas.openxmlformats.org/officeDocument/2006/relationships/slideLayout" Target="../slideLayouts/slideLayout157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image" Target="../media/image1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Relationship Id="rId14" Type="http://schemas.openxmlformats.org/officeDocument/2006/relationships/image" Target="../media/image1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9.xml"/><Relationship Id="rId13" Type="http://schemas.openxmlformats.org/officeDocument/2006/relationships/slideLayout" Target="../slideLayouts/slideLayout184.xml"/><Relationship Id="rId18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74.xml"/><Relationship Id="rId21" Type="http://schemas.openxmlformats.org/officeDocument/2006/relationships/theme" Target="../theme/theme15.xml"/><Relationship Id="rId7" Type="http://schemas.openxmlformats.org/officeDocument/2006/relationships/slideLayout" Target="../slideLayouts/slideLayout178.xml"/><Relationship Id="rId12" Type="http://schemas.openxmlformats.org/officeDocument/2006/relationships/slideLayout" Target="../slideLayouts/slideLayout183.xml"/><Relationship Id="rId17" Type="http://schemas.openxmlformats.org/officeDocument/2006/relationships/slideLayout" Target="../slideLayouts/slideLayout188.xml"/><Relationship Id="rId2" Type="http://schemas.openxmlformats.org/officeDocument/2006/relationships/slideLayout" Target="../slideLayouts/slideLayout173.xml"/><Relationship Id="rId16" Type="http://schemas.openxmlformats.org/officeDocument/2006/relationships/slideLayout" Target="../slideLayouts/slideLayout187.xml"/><Relationship Id="rId20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1" Type="http://schemas.openxmlformats.org/officeDocument/2006/relationships/slideLayout" Target="../slideLayouts/slideLayout182.xml"/><Relationship Id="rId5" Type="http://schemas.openxmlformats.org/officeDocument/2006/relationships/slideLayout" Target="../slideLayouts/slideLayout176.xml"/><Relationship Id="rId15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81.xml"/><Relationship Id="rId19" Type="http://schemas.openxmlformats.org/officeDocument/2006/relationships/slideLayout" Target="../slideLayouts/slideLayout190.xml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4" Type="http://schemas.openxmlformats.org/officeDocument/2006/relationships/slideLayout" Target="../slideLayouts/slideLayout185.xml"/><Relationship Id="rId22" Type="http://schemas.openxmlformats.org/officeDocument/2006/relationships/image" Target="../media/image1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9.xml"/><Relationship Id="rId13" Type="http://schemas.openxmlformats.org/officeDocument/2006/relationships/slideLayout" Target="../slideLayouts/slideLayout204.xml"/><Relationship Id="rId3" Type="http://schemas.openxmlformats.org/officeDocument/2006/relationships/slideLayout" Target="../slideLayouts/slideLayout194.xml"/><Relationship Id="rId7" Type="http://schemas.openxmlformats.org/officeDocument/2006/relationships/slideLayout" Target="../slideLayouts/slideLayout198.xml"/><Relationship Id="rId12" Type="http://schemas.openxmlformats.org/officeDocument/2006/relationships/slideLayout" Target="../slideLayouts/slideLayout203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slideLayout" Target="../slideLayouts/slideLayout197.xml"/><Relationship Id="rId11" Type="http://schemas.openxmlformats.org/officeDocument/2006/relationships/slideLayout" Target="../slideLayouts/slideLayout202.xml"/><Relationship Id="rId5" Type="http://schemas.openxmlformats.org/officeDocument/2006/relationships/slideLayout" Target="../slideLayouts/slideLayout196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01.xml"/><Relationship Id="rId4" Type="http://schemas.openxmlformats.org/officeDocument/2006/relationships/slideLayout" Target="../slideLayouts/slideLayout195.xml"/><Relationship Id="rId9" Type="http://schemas.openxmlformats.org/officeDocument/2006/relationships/slideLayout" Target="../slideLayouts/slideLayout200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2.xml"/><Relationship Id="rId13" Type="http://schemas.openxmlformats.org/officeDocument/2006/relationships/slideLayout" Target="../slideLayouts/slideLayout217.xml"/><Relationship Id="rId3" Type="http://schemas.openxmlformats.org/officeDocument/2006/relationships/slideLayout" Target="../slideLayouts/slideLayout207.xml"/><Relationship Id="rId7" Type="http://schemas.openxmlformats.org/officeDocument/2006/relationships/slideLayout" Target="../slideLayouts/slideLayout211.xml"/><Relationship Id="rId12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1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209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14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4" Type="http://schemas.openxmlformats.org/officeDocument/2006/relationships/theme" Target="../theme/theme1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slideLayout" Target="../slideLayouts/slideLayout230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8.xml"/><Relationship Id="rId13" Type="http://schemas.openxmlformats.org/officeDocument/2006/relationships/slideLayout" Target="../slideLayouts/slideLayout243.xml"/><Relationship Id="rId3" Type="http://schemas.openxmlformats.org/officeDocument/2006/relationships/slideLayout" Target="../slideLayouts/slideLayout233.xml"/><Relationship Id="rId7" Type="http://schemas.openxmlformats.org/officeDocument/2006/relationships/slideLayout" Target="../slideLayouts/slideLayout237.xml"/><Relationship Id="rId12" Type="http://schemas.openxmlformats.org/officeDocument/2006/relationships/slideLayout" Target="../slideLayouts/slideLayout242.xml"/><Relationship Id="rId2" Type="http://schemas.openxmlformats.org/officeDocument/2006/relationships/slideLayout" Target="../slideLayouts/slideLayout232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231.xml"/><Relationship Id="rId6" Type="http://schemas.openxmlformats.org/officeDocument/2006/relationships/slideLayout" Target="../slideLayouts/slideLayout236.xml"/><Relationship Id="rId11" Type="http://schemas.openxmlformats.org/officeDocument/2006/relationships/slideLayout" Target="../slideLayouts/slideLayout241.xml"/><Relationship Id="rId5" Type="http://schemas.openxmlformats.org/officeDocument/2006/relationships/slideLayout" Target="../slideLayouts/slideLayout235.xml"/><Relationship Id="rId15" Type="http://schemas.openxmlformats.org/officeDocument/2006/relationships/theme" Target="../theme/theme19.xml"/><Relationship Id="rId10" Type="http://schemas.openxmlformats.org/officeDocument/2006/relationships/slideLayout" Target="../slideLayouts/slideLayout240.xml"/><Relationship Id="rId4" Type="http://schemas.openxmlformats.org/officeDocument/2006/relationships/slideLayout" Target="../slideLayouts/slideLayout234.xml"/><Relationship Id="rId9" Type="http://schemas.openxmlformats.org/officeDocument/2006/relationships/slideLayout" Target="../slideLayouts/slideLayout239.xml"/><Relationship Id="rId14" Type="http://schemas.openxmlformats.org/officeDocument/2006/relationships/slideLayout" Target="../slideLayouts/slideLayout24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.jpeg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24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4.xml"/><Relationship Id="rId13" Type="http://schemas.openxmlformats.org/officeDocument/2006/relationships/slideLayout" Target="../slideLayouts/slideLayout269.xml"/><Relationship Id="rId3" Type="http://schemas.openxmlformats.org/officeDocument/2006/relationships/slideLayout" Target="../slideLayouts/slideLayout259.xml"/><Relationship Id="rId7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68.xml"/><Relationship Id="rId2" Type="http://schemas.openxmlformats.org/officeDocument/2006/relationships/slideLayout" Target="../slideLayouts/slideLayout258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5" Type="http://schemas.openxmlformats.org/officeDocument/2006/relationships/slideLayout" Target="../slideLayouts/slideLayout261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266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theme" Target="../theme/theme22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7.xml"/><Relationship Id="rId13" Type="http://schemas.openxmlformats.org/officeDocument/2006/relationships/slideLayout" Target="../slideLayouts/slideLayout282.xml"/><Relationship Id="rId3" Type="http://schemas.openxmlformats.org/officeDocument/2006/relationships/slideLayout" Target="../slideLayouts/slideLayout272.xml"/><Relationship Id="rId7" Type="http://schemas.openxmlformats.org/officeDocument/2006/relationships/slideLayout" Target="../slideLayouts/slideLayout276.xml"/><Relationship Id="rId12" Type="http://schemas.openxmlformats.org/officeDocument/2006/relationships/slideLayout" Target="../slideLayouts/slideLayout281.xml"/><Relationship Id="rId2" Type="http://schemas.openxmlformats.org/officeDocument/2006/relationships/slideLayout" Target="../slideLayouts/slideLayout271.xml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5" Type="http://schemas.openxmlformats.org/officeDocument/2006/relationships/slideLayout" Target="../slideLayouts/slideLayout274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0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285.xml"/><Relationship Id="rId7" Type="http://schemas.openxmlformats.org/officeDocument/2006/relationships/slideLayout" Target="../slideLayouts/slideLayout289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83.xml"/><Relationship Id="rId6" Type="http://schemas.openxmlformats.org/officeDocument/2006/relationships/slideLayout" Target="../slideLayouts/slideLayout288.xml"/><Relationship Id="rId11" Type="http://schemas.openxmlformats.org/officeDocument/2006/relationships/slideLayout" Target="../slideLayouts/slideLayout293.xml"/><Relationship Id="rId5" Type="http://schemas.openxmlformats.org/officeDocument/2006/relationships/slideLayout" Target="../slideLayouts/slideLayout287.xml"/><Relationship Id="rId10" Type="http://schemas.openxmlformats.org/officeDocument/2006/relationships/slideLayout" Target="../slideLayouts/slideLayout292.xml"/><Relationship Id="rId4" Type="http://schemas.openxmlformats.org/officeDocument/2006/relationships/slideLayout" Target="../slideLayouts/slideLayout286.xml"/><Relationship Id="rId9" Type="http://schemas.openxmlformats.org/officeDocument/2006/relationships/slideLayout" Target="../slideLayouts/slideLayout291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25.xml"/><Relationship Id="rId1" Type="http://schemas.openxmlformats.org/officeDocument/2006/relationships/slideLayout" Target="../slideLayouts/slideLayout294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26.xml"/><Relationship Id="rId1" Type="http://schemas.openxmlformats.org/officeDocument/2006/relationships/slideLayout" Target="../slideLayouts/slideLayout295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3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98.xml"/><Relationship Id="rId7" Type="http://schemas.openxmlformats.org/officeDocument/2006/relationships/slideLayout" Target="../slideLayouts/slideLayout302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297.xml"/><Relationship Id="rId1" Type="http://schemas.openxmlformats.org/officeDocument/2006/relationships/slideLayout" Target="../slideLayouts/slideLayout296.xml"/><Relationship Id="rId6" Type="http://schemas.openxmlformats.org/officeDocument/2006/relationships/slideLayout" Target="../slideLayouts/slideLayout301.xml"/><Relationship Id="rId11" Type="http://schemas.openxmlformats.org/officeDocument/2006/relationships/slideLayout" Target="../slideLayouts/slideLayout306.xml"/><Relationship Id="rId5" Type="http://schemas.openxmlformats.org/officeDocument/2006/relationships/slideLayout" Target="../slideLayouts/slideLayout300.xml"/><Relationship Id="rId10" Type="http://schemas.openxmlformats.org/officeDocument/2006/relationships/slideLayout" Target="../slideLayouts/slideLayout305.xml"/><Relationship Id="rId4" Type="http://schemas.openxmlformats.org/officeDocument/2006/relationships/slideLayout" Target="../slideLayouts/slideLayout299.xml"/><Relationship Id="rId9" Type="http://schemas.openxmlformats.org/officeDocument/2006/relationships/slideLayout" Target="../slideLayouts/slideLayout304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4.xml"/><Relationship Id="rId13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09.xml"/><Relationship Id="rId7" Type="http://schemas.openxmlformats.org/officeDocument/2006/relationships/slideLayout" Target="../slideLayouts/slideLayout313.xml"/><Relationship Id="rId12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08.xml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11" Type="http://schemas.openxmlformats.org/officeDocument/2006/relationships/slideLayout" Target="../slideLayouts/slideLayout317.xml"/><Relationship Id="rId5" Type="http://schemas.openxmlformats.org/officeDocument/2006/relationships/slideLayout" Target="../slideLayouts/slideLayout31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16.xml"/><Relationship Id="rId4" Type="http://schemas.openxmlformats.org/officeDocument/2006/relationships/slideLayout" Target="../slideLayouts/slideLayout310.xml"/><Relationship Id="rId9" Type="http://schemas.openxmlformats.org/officeDocument/2006/relationships/slideLayout" Target="../slideLayouts/slideLayout315.xml"/><Relationship Id="rId14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1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7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322.xml"/><Relationship Id="rId7" Type="http://schemas.openxmlformats.org/officeDocument/2006/relationships/slideLayout" Target="../slideLayouts/slideLayout326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321.xml"/><Relationship Id="rId1" Type="http://schemas.openxmlformats.org/officeDocument/2006/relationships/slideLayout" Target="../slideLayouts/slideLayout320.xml"/><Relationship Id="rId6" Type="http://schemas.openxmlformats.org/officeDocument/2006/relationships/slideLayout" Target="../slideLayouts/slideLayout325.xml"/><Relationship Id="rId11" Type="http://schemas.openxmlformats.org/officeDocument/2006/relationships/slideLayout" Target="../slideLayouts/slideLayout330.xml"/><Relationship Id="rId5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329.xml"/><Relationship Id="rId4" Type="http://schemas.openxmlformats.org/officeDocument/2006/relationships/slideLayout" Target="../slideLayouts/slideLayout323.xml"/><Relationship Id="rId9" Type="http://schemas.openxmlformats.org/officeDocument/2006/relationships/slideLayout" Target="../slideLayouts/slideLayout328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9.xml"/><Relationship Id="rId13" Type="http://schemas.openxmlformats.org/officeDocument/2006/relationships/theme" Target="../theme/theme32.xml"/><Relationship Id="rId3" Type="http://schemas.openxmlformats.org/officeDocument/2006/relationships/slideLayout" Target="../slideLayouts/slideLayout344.xml"/><Relationship Id="rId7" Type="http://schemas.openxmlformats.org/officeDocument/2006/relationships/slideLayout" Target="../slideLayouts/slideLayout348.xml"/><Relationship Id="rId12" Type="http://schemas.openxmlformats.org/officeDocument/2006/relationships/slideLayout" Target="../slideLayouts/slideLayout353.xml"/><Relationship Id="rId2" Type="http://schemas.openxmlformats.org/officeDocument/2006/relationships/slideLayout" Target="../slideLayouts/slideLayout343.xml"/><Relationship Id="rId1" Type="http://schemas.openxmlformats.org/officeDocument/2006/relationships/slideLayout" Target="../slideLayouts/slideLayout342.xml"/><Relationship Id="rId6" Type="http://schemas.openxmlformats.org/officeDocument/2006/relationships/slideLayout" Target="../slideLayouts/slideLayout347.xml"/><Relationship Id="rId11" Type="http://schemas.openxmlformats.org/officeDocument/2006/relationships/slideLayout" Target="../slideLayouts/slideLayout352.xml"/><Relationship Id="rId5" Type="http://schemas.openxmlformats.org/officeDocument/2006/relationships/slideLayout" Target="../slideLayouts/slideLayout346.xml"/><Relationship Id="rId10" Type="http://schemas.openxmlformats.org/officeDocument/2006/relationships/slideLayout" Target="../slideLayouts/slideLayout351.xml"/><Relationship Id="rId4" Type="http://schemas.openxmlformats.org/officeDocument/2006/relationships/slideLayout" Target="../slideLayouts/slideLayout345.xml"/><Relationship Id="rId9" Type="http://schemas.openxmlformats.org/officeDocument/2006/relationships/slideLayout" Target="../slideLayouts/slideLayout350.xml"/><Relationship Id="rId14" Type="http://schemas.openxmlformats.org/officeDocument/2006/relationships/image" Target="../media/image1.jpeg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1.xml"/><Relationship Id="rId13" Type="http://schemas.openxmlformats.org/officeDocument/2006/relationships/image" Target="../media/image10.jpeg"/><Relationship Id="rId3" Type="http://schemas.openxmlformats.org/officeDocument/2006/relationships/slideLayout" Target="../slideLayouts/slideLayout356.xml"/><Relationship Id="rId7" Type="http://schemas.openxmlformats.org/officeDocument/2006/relationships/slideLayout" Target="../slideLayouts/slideLayout360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355.xml"/><Relationship Id="rId1" Type="http://schemas.openxmlformats.org/officeDocument/2006/relationships/slideLayout" Target="../slideLayouts/slideLayout354.xml"/><Relationship Id="rId6" Type="http://schemas.openxmlformats.org/officeDocument/2006/relationships/slideLayout" Target="../slideLayouts/slideLayout359.xml"/><Relationship Id="rId11" Type="http://schemas.openxmlformats.org/officeDocument/2006/relationships/slideLayout" Target="../slideLayouts/slideLayout364.xml"/><Relationship Id="rId5" Type="http://schemas.openxmlformats.org/officeDocument/2006/relationships/slideLayout" Target="../slideLayouts/slideLayout358.xml"/><Relationship Id="rId10" Type="http://schemas.openxmlformats.org/officeDocument/2006/relationships/slideLayout" Target="../slideLayouts/slideLayout363.xml"/><Relationship Id="rId4" Type="http://schemas.openxmlformats.org/officeDocument/2006/relationships/slideLayout" Target="../slideLayouts/slideLayout357.xml"/><Relationship Id="rId9" Type="http://schemas.openxmlformats.org/officeDocument/2006/relationships/slideLayout" Target="../slideLayouts/slideLayout362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slideLayout" Target="../slideLayouts/slideLayout377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slideLayout" Target="../slideLayouts/slideLayout376.xml"/><Relationship Id="rId2" Type="http://schemas.openxmlformats.org/officeDocument/2006/relationships/slideLayout" Target="../slideLayouts/slideLayout366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5" Type="http://schemas.openxmlformats.org/officeDocument/2006/relationships/slideLayout" Target="../slideLayouts/slideLayout369.xml"/><Relationship Id="rId15" Type="http://schemas.openxmlformats.org/officeDocument/2006/relationships/theme" Target="../theme/theme34.xml"/><Relationship Id="rId10" Type="http://schemas.openxmlformats.org/officeDocument/2006/relationships/slideLayout" Target="../slideLayouts/slideLayout374.xml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Relationship Id="rId14" Type="http://schemas.openxmlformats.org/officeDocument/2006/relationships/slideLayout" Target="../slideLayouts/slideLayout378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6.xml"/><Relationship Id="rId13" Type="http://schemas.openxmlformats.org/officeDocument/2006/relationships/slideLayout" Target="../slideLayouts/slideLayout391.xml"/><Relationship Id="rId3" Type="http://schemas.openxmlformats.org/officeDocument/2006/relationships/slideLayout" Target="../slideLayouts/slideLayout381.xml"/><Relationship Id="rId7" Type="http://schemas.openxmlformats.org/officeDocument/2006/relationships/slideLayout" Target="../slideLayouts/slideLayout385.xml"/><Relationship Id="rId12" Type="http://schemas.openxmlformats.org/officeDocument/2006/relationships/slideLayout" Target="../slideLayouts/slideLayout390.xml"/><Relationship Id="rId2" Type="http://schemas.openxmlformats.org/officeDocument/2006/relationships/slideLayout" Target="../slideLayouts/slideLayout380.xml"/><Relationship Id="rId1" Type="http://schemas.openxmlformats.org/officeDocument/2006/relationships/slideLayout" Target="../slideLayouts/slideLayout379.xml"/><Relationship Id="rId6" Type="http://schemas.openxmlformats.org/officeDocument/2006/relationships/slideLayout" Target="../slideLayouts/slideLayout384.xml"/><Relationship Id="rId11" Type="http://schemas.openxmlformats.org/officeDocument/2006/relationships/slideLayout" Target="../slideLayouts/slideLayout389.xml"/><Relationship Id="rId5" Type="http://schemas.openxmlformats.org/officeDocument/2006/relationships/slideLayout" Target="../slideLayouts/slideLayout383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388.xml"/><Relationship Id="rId4" Type="http://schemas.openxmlformats.org/officeDocument/2006/relationships/slideLayout" Target="../slideLayouts/slideLayout382.xml"/><Relationship Id="rId9" Type="http://schemas.openxmlformats.org/officeDocument/2006/relationships/slideLayout" Target="../slideLayouts/slideLayout387.xml"/><Relationship Id="rId14" Type="http://schemas.openxmlformats.org/officeDocument/2006/relationships/theme" Target="../theme/theme35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9.xml"/><Relationship Id="rId13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398.xml"/><Relationship Id="rId12" Type="http://schemas.openxmlformats.org/officeDocument/2006/relationships/slideLayout" Target="../slideLayouts/slideLayout403.xml"/><Relationship Id="rId2" Type="http://schemas.openxmlformats.org/officeDocument/2006/relationships/slideLayout" Target="../slideLayouts/slideLayout393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392.xml"/><Relationship Id="rId6" Type="http://schemas.openxmlformats.org/officeDocument/2006/relationships/slideLayout" Target="../slideLayouts/slideLayout397.xml"/><Relationship Id="rId11" Type="http://schemas.openxmlformats.org/officeDocument/2006/relationships/slideLayout" Target="../slideLayouts/slideLayout402.xml"/><Relationship Id="rId5" Type="http://schemas.openxmlformats.org/officeDocument/2006/relationships/slideLayout" Target="../slideLayouts/slideLayout396.xml"/><Relationship Id="rId15" Type="http://schemas.openxmlformats.org/officeDocument/2006/relationships/theme" Target="../theme/theme36.xml"/><Relationship Id="rId10" Type="http://schemas.openxmlformats.org/officeDocument/2006/relationships/slideLayout" Target="../slideLayouts/slideLayout401.xml"/><Relationship Id="rId4" Type="http://schemas.openxmlformats.org/officeDocument/2006/relationships/slideLayout" Target="../slideLayouts/slideLayout395.xml"/><Relationship Id="rId9" Type="http://schemas.openxmlformats.org/officeDocument/2006/relationships/slideLayout" Target="../slideLayouts/slideLayout400.xml"/><Relationship Id="rId14" Type="http://schemas.openxmlformats.org/officeDocument/2006/relationships/slideLayout" Target="../slideLayouts/slideLayout405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3.xml"/><Relationship Id="rId13" Type="http://schemas.openxmlformats.org/officeDocument/2006/relationships/slideLayout" Target="../slideLayouts/slideLayout418.xml"/><Relationship Id="rId3" Type="http://schemas.openxmlformats.org/officeDocument/2006/relationships/slideLayout" Target="../slideLayouts/slideLayout408.xml"/><Relationship Id="rId7" Type="http://schemas.openxmlformats.org/officeDocument/2006/relationships/slideLayout" Target="../slideLayouts/slideLayout412.xml"/><Relationship Id="rId12" Type="http://schemas.openxmlformats.org/officeDocument/2006/relationships/slideLayout" Target="../slideLayouts/slideLayout417.xml"/><Relationship Id="rId2" Type="http://schemas.openxmlformats.org/officeDocument/2006/relationships/slideLayout" Target="../slideLayouts/slideLayout407.xml"/><Relationship Id="rId16" Type="http://schemas.openxmlformats.org/officeDocument/2006/relationships/image" Target="../media/image5.jpeg"/><Relationship Id="rId1" Type="http://schemas.openxmlformats.org/officeDocument/2006/relationships/slideLayout" Target="../slideLayouts/slideLayout406.xml"/><Relationship Id="rId6" Type="http://schemas.openxmlformats.org/officeDocument/2006/relationships/slideLayout" Target="../slideLayouts/slideLayout411.xml"/><Relationship Id="rId11" Type="http://schemas.openxmlformats.org/officeDocument/2006/relationships/slideLayout" Target="../slideLayouts/slideLayout416.xml"/><Relationship Id="rId5" Type="http://schemas.openxmlformats.org/officeDocument/2006/relationships/slideLayout" Target="../slideLayouts/slideLayout410.xml"/><Relationship Id="rId15" Type="http://schemas.openxmlformats.org/officeDocument/2006/relationships/theme" Target="../theme/theme37.xml"/><Relationship Id="rId10" Type="http://schemas.openxmlformats.org/officeDocument/2006/relationships/slideLayout" Target="../slideLayouts/slideLayout415.xml"/><Relationship Id="rId4" Type="http://schemas.openxmlformats.org/officeDocument/2006/relationships/slideLayout" Target="../slideLayouts/slideLayout409.xml"/><Relationship Id="rId9" Type="http://schemas.openxmlformats.org/officeDocument/2006/relationships/slideLayout" Target="../slideLayouts/slideLayout414.xml"/><Relationship Id="rId14" Type="http://schemas.openxmlformats.org/officeDocument/2006/relationships/slideLayout" Target="../slideLayouts/slideLayout419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13" Type="http://schemas.openxmlformats.org/officeDocument/2006/relationships/theme" Target="../theme/theme38.xml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12" Type="http://schemas.openxmlformats.org/officeDocument/2006/relationships/slideLayout" Target="../slideLayouts/slideLayout431.xml"/><Relationship Id="rId2" Type="http://schemas.openxmlformats.org/officeDocument/2006/relationships/slideLayout" Target="../slideLayouts/slideLayout421.xml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1" Type="http://schemas.openxmlformats.org/officeDocument/2006/relationships/slideLayout" Target="../slideLayouts/slideLayout430.xml"/><Relationship Id="rId5" Type="http://schemas.openxmlformats.org/officeDocument/2006/relationships/slideLayout" Target="../slideLayouts/slideLayout424.xml"/><Relationship Id="rId10" Type="http://schemas.openxmlformats.org/officeDocument/2006/relationships/slideLayout" Target="../slideLayouts/slideLayout429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Relationship Id="rId14" Type="http://schemas.openxmlformats.org/officeDocument/2006/relationships/image" Target="../media/image1.jpeg"/></Relationships>
</file>

<file path=ppt/slideMasters/_rels/slideMaster39.xml.rels><?xml version="1.0" encoding="UTF-8" standalone="yes"?>
<Relationships xmlns="http://schemas.openxmlformats.org/package/2006/relationships"><Relationship Id="rId3" Type="http://schemas.openxmlformats.org/officeDocument/2006/relationships/theme" Target="../theme/theme39.xml"/><Relationship Id="rId2" Type="http://schemas.openxmlformats.org/officeDocument/2006/relationships/slideLayout" Target="../slideLayouts/slideLayout433.xml"/><Relationship Id="rId1" Type="http://schemas.openxmlformats.org/officeDocument/2006/relationships/slideLayout" Target="../slideLayouts/slideLayout432.xml"/><Relationship Id="rId4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image" Target="../media/image1.jpeg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1.xml"/><Relationship Id="rId13" Type="http://schemas.openxmlformats.org/officeDocument/2006/relationships/slideLayout" Target="../slideLayouts/slideLayout446.xml"/><Relationship Id="rId3" Type="http://schemas.openxmlformats.org/officeDocument/2006/relationships/slideLayout" Target="../slideLayouts/slideLayout436.xml"/><Relationship Id="rId7" Type="http://schemas.openxmlformats.org/officeDocument/2006/relationships/slideLayout" Target="../slideLayouts/slideLayout440.xml"/><Relationship Id="rId12" Type="http://schemas.openxmlformats.org/officeDocument/2006/relationships/slideLayout" Target="../slideLayouts/slideLayout445.xml"/><Relationship Id="rId2" Type="http://schemas.openxmlformats.org/officeDocument/2006/relationships/slideLayout" Target="../slideLayouts/slideLayout435.xml"/><Relationship Id="rId1" Type="http://schemas.openxmlformats.org/officeDocument/2006/relationships/slideLayout" Target="../slideLayouts/slideLayout434.xml"/><Relationship Id="rId6" Type="http://schemas.openxmlformats.org/officeDocument/2006/relationships/slideLayout" Target="../slideLayouts/slideLayout439.xml"/><Relationship Id="rId11" Type="http://schemas.openxmlformats.org/officeDocument/2006/relationships/slideLayout" Target="../slideLayouts/slideLayout444.xml"/><Relationship Id="rId5" Type="http://schemas.openxmlformats.org/officeDocument/2006/relationships/slideLayout" Target="../slideLayouts/slideLayout438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443.xml"/><Relationship Id="rId4" Type="http://schemas.openxmlformats.org/officeDocument/2006/relationships/slideLayout" Target="../slideLayouts/slideLayout437.xml"/><Relationship Id="rId9" Type="http://schemas.openxmlformats.org/officeDocument/2006/relationships/slideLayout" Target="../slideLayouts/slideLayout442.xml"/><Relationship Id="rId14" Type="http://schemas.openxmlformats.org/officeDocument/2006/relationships/theme" Target="../theme/theme4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4.xml"/><Relationship Id="rId13" Type="http://schemas.openxmlformats.org/officeDocument/2006/relationships/theme" Target="../theme/theme41.xml"/><Relationship Id="rId3" Type="http://schemas.openxmlformats.org/officeDocument/2006/relationships/slideLayout" Target="../slideLayouts/slideLayout449.xml"/><Relationship Id="rId7" Type="http://schemas.openxmlformats.org/officeDocument/2006/relationships/slideLayout" Target="../slideLayouts/slideLayout453.xml"/><Relationship Id="rId12" Type="http://schemas.openxmlformats.org/officeDocument/2006/relationships/slideLayout" Target="../slideLayouts/slideLayout458.xml"/><Relationship Id="rId2" Type="http://schemas.openxmlformats.org/officeDocument/2006/relationships/slideLayout" Target="../slideLayouts/slideLayout448.xml"/><Relationship Id="rId1" Type="http://schemas.openxmlformats.org/officeDocument/2006/relationships/slideLayout" Target="../slideLayouts/slideLayout447.xml"/><Relationship Id="rId6" Type="http://schemas.openxmlformats.org/officeDocument/2006/relationships/slideLayout" Target="../slideLayouts/slideLayout452.xml"/><Relationship Id="rId11" Type="http://schemas.openxmlformats.org/officeDocument/2006/relationships/slideLayout" Target="../slideLayouts/slideLayout457.xml"/><Relationship Id="rId5" Type="http://schemas.openxmlformats.org/officeDocument/2006/relationships/slideLayout" Target="../slideLayouts/slideLayout451.xml"/><Relationship Id="rId10" Type="http://schemas.openxmlformats.org/officeDocument/2006/relationships/slideLayout" Target="../slideLayouts/slideLayout456.xml"/><Relationship Id="rId4" Type="http://schemas.openxmlformats.org/officeDocument/2006/relationships/slideLayout" Target="../slideLayouts/slideLayout450.xml"/><Relationship Id="rId9" Type="http://schemas.openxmlformats.org/officeDocument/2006/relationships/slideLayout" Target="../slideLayouts/slideLayout455.xml"/><Relationship Id="rId14" Type="http://schemas.openxmlformats.org/officeDocument/2006/relationships/image" Target="../media/image12.jpeg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6.xml"/><Relationship Id="rId13" Type="http://schemas.openxmlformats.org/officeDocument/2006/relationships/theme" Target="../theme/theme42.xml"/><Relationship Id="rId3" Type="http://schemas.openxmlformats.org/officeDocument/2006/relationships/slideLayout" Target="../slideLayouts/slideLayout461.xml"/><Relationship Id="rId7" Type="http://schemas.openxmlformats.org/officeDocument/2006/relationships/slideLayout" Target="../slideLayouts/slideLayout465.xml"/><Relationship Id="rId12" Type="http://schemas.openxmlformats.org/officeDocument/2006/relationships/slideLayout" Target="../slideLayouts/slideLayout470.xml"/><Relationship Id="rId2" Type="http://schemas.openxmlformats.org/officeDocument/2006/relationships/slideLayout" Target="../slideLayouts/slideLayout460.xml"/><Relationship Id="rId1" Type="http://schemas.openxmlformats.org/officeDocument/2006/relationships/slideLayout" Target="../slideLayouts/slideLayout459.xml"/><Relationship Id="rId6" Type="http://schemas.openxmlformats.org/officeDocument/2006/relationships/slideLayout" Target="../slideLayouts/slideLayout464.xml"/><Relationship Id="rId11" Type="http://schemas.openxmlformats.org/officeDocument/2006/relationships/slideLayout" Target="../slideLayouts/slideLayout469.xml"/><Relationship Id="rId5" Type="http://schemas.openxmlformats.org/officeDocument/2006/relationships/slideLayout" Target="../slideLayouts/slideLayout463.xml"/><Relationship Id="rId10" Type="http://schemas.openxmlformats.org/officeDocument/2006/relationships/slideLayout" Target="../slideLayouts/slideLayout468.xml"/><Relationship Id="rId4" Type="http://schemas.openxmlformats.org/officeDocument/2006/relationships/slideLayout" Target="../slideLayouts/slideLayout462.xml"/><Relationship Id="rId9" Type="http://schemas.openxmlformats.org/officeDocument/2006/relationships/slideLayout" Target="../slideLayouts/slideLayout467.xml"/><Relationship Id="rId14" Type="http://schemas.openxmlformats.org/officeDocument/2006/relationships/image" Target="../media/image1.jpeg"/></Relationships>
</file>

<file path=ppt/slideMasters/_rels/slideMaster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43.xml"/><Relationship Id="rId1" Type="http://schemas.openxmlformats.org/officeDocument/2006/relationships/slideLayout" Target="../slideLayouts/slideLayout471.xml"/></Relationships>
</file>

<file path=ppt/slideMasters/_rels/slideMaster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44.xml"/><Relationship Id="rId1" Type="http://schemas.openxmlformats.org/officeDocument/2006/relationships/slideLayout" Target="../slideLayouts/slideLayout472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0.xml"/><Relationship Id="rId13" Type="http://schemas.openxmlformats.org/officeDocument/2006/relationships/theme" Target="../theme/theme45.xml"/><Relationship Id="rId3" Type="http://schemas.openxmlformats.org/officeDocument/2006/relationships/slideLayout" Target="../slideLayouts/slideLayout475.xml"/><Relationship Id="rId7" Type="http://schemas.openxmlformats.org/officeDocument/2006/relationships/slideLayout" Target="../slideLayouts/slideLayout479.xml"/><Relationship Id="rId12" Type="http://schemas.openxmlformats.org/officeDocument/2006/relationships/slideLayout" Target="../slideLayouts/slideLayout484.xml"/><Relationship Id="rId2" Type="http://schemas.openxmlformats.org/officeDocument/2006/relationships/slideLayout" Target="../slideLayouts/slideLayout474.xml"/><Relationship Id="rId1" Type="http://schemas.openxmlformats.org/officeDocument/2006/relationships/slideLayout" Target="../slideLayouts/slideLayout473.xml"/><Relationship Id="rId6" Type="http://schemas.openxmlformats.org/officeDocument/2006/relationships/slideLayout" Target="../slideLayouts/slideLayout478.xml"/><Relationship Id="rId11" Type="http://schemas.openxmlformats.org/officeDocument/2006/relationships/slideLayout" Target="../slideLayouts/slideLayout483.xml"/><Relationship Id="rId5" Type="http://schemas.openxmlformats.org/officeDocument/2006/relationships/slideLayout" Target="../slideLayouts/slideLayout477.xml"/><Relationship Id="rId10" Type="http://schemas.openxmlformats.org/officeDocument/2006/relationships/slideLayout" Target="../slideLayouts/slideLayout482.xml"/><Relationship Id="rId4" Type="http://schemas.openxmlformats.org/officeDocument/2006/relationships/slideLayout" Target="../slideLayouts/slideLayout476.xml"/><Relationship Id="rId9" Type="http://schemas.openxmlformats.org/officeDocument/2006/relationships/slideLayout" Target="../slideLayouts/slideLayout481.xml"/><Relationship Id="rId14" Type="http://schemas.openxmlformats.org/officeDocument/2006/relationships/image" Target="../media/image1.jpeg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2.xml"/><Relationship Id="rId13" Type="http://schemas.openxmlformats.org/officeDocument/2006/relationships/slideLayout" Target="../slideLayouts/slideLayout497.xml"/><Relationship Id="rId3" Type="http://schemas.openxmlformats.org/officeDocument/2006/relationships/slideLayout" Target="../slideLayouts/slideLayout487.xml"/><Relationship Id="rId7" Type="http://schemas.openxmlformats.org/officeDocument/2006/relationships/slideLayout" Target="../slideLayouts/slideLayout491.xml"/><Relationship Id="rId12" Type="http://schemas.openxmlformats.org/officeDocument/2006/relationships/slideLayout" Target="../slideLayouts/slideLayout496.xml"/><Relationship Id="rId2" Type="http://schemas.openxmlformats.org/officeDocument/2006/relationships/slideLayout" Target="../slideLayouts/slideLayout486.xml"/><Relationship Id="rId1" Type="http://schemas.openxmlformats.org/officeDocument/2006/relationships/slideLayout" Target="../slideLayouts/slideLayout485.xml"/><Relationship Id="rId6" Type="http://schemas.openxmlformats.org/officeDocument/2006/relationships/slideLayout" Target="../slideLayouts/slideLayout490.xml"/><Relationship Id="rId11" Type="http://schemas.openxmlformats.org/officeDocument/2006/relationships/slideLayout" Target="../slideLayouts/slideLayout495.xml"/><Relationship Id="rId5" Type="http://schemas.openxmlformats.org/officeDocument/2006/relationships/slideLayout" Target="../slideLayouts/slideLayout489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494.xml"/><Relationship Id="rId4" Type="http://schemas.openxmlformats.org/officeDocument/2006/relationships/slideLayout" Target="../slideLayouts/slideLayout488.xml"/><Relationship Id="rId9" Type="http://schemas.openxmlformats.org/officeDocument/2006/relationships/slideLayout" Target="../slideLayouts/slideLayout493.xml"/><Relationship Id="rId14" Type="http://schemas.openxmlformats.org/officeDocument/2006/relationships/theme" Target="../theme/theme46.xml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5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500.xml"/><Relationship Id="rId7" Type="http://schemas.openxmlformats.org/officeDocument/2006/relationships/slideLayout" Target="../slideLayouts/slideLayout504.xml"/><Relationship Id="rId12" Type="http://schemas.openxmlformats.org/officeDocument/2006/relationships/theme" Target="../theme/theme47.xml"/><Relationship Id="rId2" Type="http://schemas.openxmlformats.org/officeDocument/2006/relationships/slideLayout" Target="../slideLayouts/slideLayout499.xml"/><Relationship Id="rId1" Type="http://schemas.openxmlformats.org/officeDocument/2006/relationships/slideLayout" Target="../slideLayouts/slideLayout498.xml"/><Relationship Id="rId6" Type="http://schemas.openxmlformats.org/officeDocument/2006/relationships/slideLayout" Target="../slideLayouts/slideLayout503.xml"/><Relationship Id="rId11" Type="http://schemas.openxmlformats.org/officeDocument/2006/relationships/slideLayout" Target="../slideLayouts/slideLayout508.xml"/><Relationship Id="rId5" Type="http://schemas.openxmlformats.org/officeDocument/2006/relationships/slideLayout" Target="../slideLayouts/slideLayout502.xml"/><Relationship Id="rId10" Type="http://schemas.openxmlformats.org/officeDocument/2006/relationships/slideLayout" Target="../slideLayouts/slideLayout507.xml"/><Relationship Id="rId4" Type="http://schemas.openxmlformats.org/officeDocument/2006/relationships/slideLayout" Target="../slideLayouts/slideLayout501.xml"/><Relationship Id="rId9" Type="http://schemas.openxmlformats.org/officeDocument/2006/relationships/slideLayout" Target="../slideLayouts/slideLayout506.xml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6.xml"/><Relationship Id="rId13" Type="http://schemas.openxmlformats.org/officeDocument/2006/relationships/slideLayout" Target="../slideLayouts/slideLayout521.xml"/><Relationship Id="rId18" Type="http://schemas.openxmlformats.org/officeDocument/2006/relationships/image" Target="../media/image5.jpeg"/><Relationship Id="rId3" Type="http://schemas.openxmlformats.org/officeDocument/2006/relationships/slideLayout" Target="../slideLayouts/slideLayout511.xml"/><Relationship Id="rId7" Type="http://schemas.openxmlformats.org/officeDocument/2006/relationships/slideLayout" Target="../slideLayouts/slideLayout515.xml"/><Relationship Id="rId12" Type="http://schemas.openxmlformats.org/officeDocument/2006/relationships/slideLayout" Target="../slideLayouts/slideLayout520.xml"/><Relationship Id="rId17" Type="http://schemas.openxmlformats.org/officeDocument/2006/relationships/theme" Target="../theme/theme48.xml"/><Relationship Id="rId2" Type="http://schemas.openxmlformats.org/officeDocument/2006/relationships/slideLayout" Target="../slideLayouts/slideLayout510.xml"/><Relationship Id="rId16" Type="http://schemas.openxmlformats.org/officeDocument/2006/relationships/slideLayout" Target="../slideLayouts/slideLayout524.xml"/><Relationship Id="rId1" Type="http://schemas.openxmlformats.org/officeDocument/2006/relationships/slideLayout" Target="../slideLayouts/slideLayout509.xml"/><Relationship Id="rId6" Type="http://schemas.openxmlformats.org/officeDocument/2006/relationships/slideLayout" Target="../slideLayouts/slideLayout514.xml"/><Relationship Id="rId11" Type="http://schemas.openxmlformats.org/officeDocument/2006/relationships/slideLayout" Target="../slideLayouts/slideLayout519.xml"/><Relationship Id="rId5" Type="http://schemas.openxmlformats.org/officeDocument/2006/relationships/slideLayout" Target="../slideLayouts/slideLayout513.xml"/><Relationship Id="rId15" Type="http://schemas.openxmlformats.org/officeDocument/2006/relationships/slideLayout" Target="../slideLayouts/slideLayout523.xml"/><Relationship Id="rId10" Type="http://schemas.openxmlformats.org/officeDocument/2006/relationships/slideLayout" Target="../slideLayouts/slideLayout518.xml"/><Relationship Id="rId4" Type="http://schemas.openxmlformats.org/officeDocument/2006/relationships/slideLayout" Target="../slideLayouts/slideLayout512.xml"/><Relationship Id="rId9" Type="http://schemas.openxmlformats.org/officeDocument/2006/relationships/slideLayout" Target="../slideLayouts/slideLayout517.xml"/><Relationship Id="rId14" Type="http://schemas.openxmlformats.org/officeDocument/2006/relationships/slideLayout" Target="../slideLayouts/slideLayout522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2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527.xml"/><Relationship Id="rId7" Type="http://schemas.openxmlformats.org/officeDocument/2006/relationships/slideLayout" Target="../slideLayouts/slideLayout531.xml"/><Relationship Id="rId12" Type="http://schemas.openxmlformats.org/officeDocument/2006/relationships/theme" Target="../theme/theme49.xml"/><Relationship Id="rId2" Type="http://schemas.openxmlformats.org/officeDocument/2006/relationships/slideLayout" Target="../slideLayouts/slideLayout526.xml"/><Relationship Id="rId1" Type="http://schemas.openxmlformats.org/officeDocument/2006/relationships/slideLayout" Target="../slideLayouts/slideLayout525.xml"/><Relationship Id="rId6" Type="http://schemas.openxmlformats.org/officeDocument/2006/relationships/slideLayout" Target="../slideLayouts/slideLayout530.xml"/><Relationship Id="rId11" Type="http://schemas.openxmlformats.org/officeDocument/2006/relationships/slideLayout" Target="../slideLayouts/slideLayout535.xml"/><Relationship Id="rId5" Type="http://schemas.openxmlformats.org/officeDocument/2006/relationships/slideLayout" Target="../slideLayouts/slideLayout529.xml"/><Relationship Id="rId10" Type="http://schemas.openxmlformats.org/officeDocument/2006/relationships/slideLayout" Target="../slideLayouts/slideLayout534.xml"/><Relationship Id="rId4" Type="http://schemas.openxmlformats.org/officeDocument/2006/relationships/slideLayout" Target="../slideLayouts/slideLayout528.xml"/><Relationship Id="rId9" Type="http://schemas.openxmlformats.org/officeDocument/2006/relationships/slideLayout" Target="../slideLayouts/slideLayout53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image" Target="../media/image1.jpeg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3.xml"/><Relationship Id="rId13" Type="http://schemas.openxmlformats.org/officeDocument/2006/relationships/theme" Target="../theme/theme50.xml"/><Relationship Id="rId3" Type="http://schemas.openxmlformats.org/officeDocument/2006/relationships/slideLayout" Target="../slideLayouts/slideLayout538.xml"/><Relationship Id="rId7" Type="http://schemas.openxmlformats.org/officeDocument/2006/relationships/slideLayout" Target="../slideLayouts/slideLayout542.xml"/><Relationship Id="rId12" Type="http://schemas.openxmlformats.org/officeDocument/2006/relationships/slideLayout" Target="../slideLayouts/slideLayout547.xml"/><Relationship Id="rId2" Type="http://schemas.openxmlformats.org/officeDocument/2006/relationships/slideLayout" Target="../slideLayouts/slideLayout537.xml"/><Relationship Id="rId1" Type="http://schemas.openxmlformats.org/officeDocument/2006/relationships/slideLayout" Target="../slideLayouts/slideLayout536.xml"/><Relationship Id="rId6" Type="http://schemas.openxmlformats.org/officeDocument/2006/relationships/slideLayout" Target="../slideLayouts/slideLayout541.xml"/><Relationship Id="rId11" Type="http://schemas.openxmlformats.org/officeDocument/2006/relationships/slideLayout" Target="../slideLayouts/slideLayout546.xml"/><Relationship Id="rId5" Type="http://schemas.openxmlformats.org/officeDocument/2006/relationships/slideLayout" Target="../slideLayouts/slideLayout540.xml"/><Relationship Id="rId10" Type="http://schemas.openxmlformats.org/officeDocument/2006/relationships/slideLayout" Target="../slideLayouts/slideLayout545.xml"/><Relationship Id="rId4" Type="http://schemas.openxmlformats.org/officeDocument/2006/relationships/slideLayout" Target="../slideLayouts/slideLayout539.xml"/><Relationship Id="rId9" Type="http://schemas.openxmlformats.org/officeDocument/2006/relationships/slideLayout" Target="../slideLayouts/slideLayout544.xml"/><Relationship Id="rId14" Type="http://schemas.openxmlformats.org/officeDocument/2006/relationships/image" Target="../media/image7.jpeg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5.xml"/><Relationship Id="rId13" Type="http://schemas.openxmlformats.org/officeDocument/2006/relationships/theme" Target="../theme/theme51.xml"/><Relationship Id="rId3" Type="http://schemas.openxmlformats.org/officeDocument/2006/relationships/slideLayout" Target="../slideLayouts/slideLayout550.xml"/><Relationship Id="rId7" Type="http://schemas.openxmlformats.org/officeDocument/2006/relationships/slideLayout" Target="../slideLayouts/slideLayout554.xml"/><Relationship Id="rId12" Type="http://schemas.openxmlformats.org/officeDocument/2006/relationships/slideLayout" Target="../slideLayouts/slideLayout559.xml"/><Relationship Id="rId2" Type="http://schemas.openxmlformats.org/officeDocument/2006/relationships/slideLayout" Target="../slideLayouts/slideLayout549.xml"/><Relationship Id="rId1" Type="http://schemas.openxmlformats.org/officeDocument/2006/relationships/slideLayout" Target="../slideLayouts/slideLayout548.xml"/><Relationship Id="rId6" Type="http://schemas.openxmlformats.org/officeDocument/2006/relationships/slideLayout" Target="../slideLayouts/slideLayout553.xml"/><Relationship Id="rId11" Type="http://schemas.openxmlformats.org/officeDocument/2006/relationships/slideLayout" Target="../slideLayouts/slideLayout558.xml"/><Relationship Id="rId5" Type="http://schemas.openxmlformats.org/officeDocument/2006/relationships/slideLayout" Target="../slideLayouts/slideLayout552.xml"/><Relationship Id="rId10" Type="http://schemas.openxmlformats.org/officeDocument/2006/relationships/slideLayout" Target="../slideLayouts/slideLayout557.xml"/><Relationship Id="rId4" Type="http://schemas.openxmlformats.org/officeDocument/2006/relationships/slideLayout" Target="../slideLayouts/slideLayout551.xml"/><Relationship Id="rId9" Type="http://schemas.openxmlformats.org/officeDocument/2006/relationships/slideLayout" Target="../slideLayouts/slideLayout556.xml"/><Relationship Id="rId14" Type="http://schemas.openxmlformats.org/officeDocument/2006/relationships/image" Target="../media/image1.jpeg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7.xml"/><Relationship Id="rId13" Type="http://schemas.openxmlformats.org/officeDocument/2006/relationships/theme" Target="../theme/theme52.xml"/><Relationship Id="rId3" Type="http://schemas.openxmlformats.org/officeDocument/2006/relationships/slideLayout" Target="../slideLayouts/slideLayout562.xml"/><Relationship Id="rId7" Type="http://schemas.openxmlformats.org/officeDocument/2006/relationships/slideLayout" Target="../slideLayouts/slideLayout566.xml"/><Relationship Id="rId12" Type="http://schemas.openxmlformats.org/officeDocument/2006/relationships/slideLayout" Target="../slideLayouts/slideLayout571.xml"/><Relationship Id="rId2" Type="http://schemas.openxmlformats.org/officeDocument/2006/relationships/slideLayout" Target="../slideLayouts/slideLayout561.xml"/><Relationship Id="rId1" Type="http://schemas.openxmlformats.org/officeDocument/2006/relationships/slideLayout" Target="../slideLayouts/slideLayout560.xml"/><Relationship Id="rId6" Type="http://schemas.openxmlformats.org/officeDocument/2006/relationships/slideLayout" Target="../slideLayouts/slideLayout565.xml"/><Relationship Id="rId11" Type="http://schemas.openxmlformats.org/officeDocument/2006/relationships/slideLayout" Target="../slideLayouts/slideLayout570.xml"/><Relationship Id="rId5" Type="http://schemas.openxmlformats.org/officeDocument/2006/relationships/slideLayout" Target="../slideLayouts/slideLayout564.xml"/><Relationship Id="rId10" Type="http://schemas.openxmlformats.org/officeDocument/2006/relationships/slideLayout" Target="../slideLayouts/slideLayout569.xml"/><Relationship Id="rId4" Type="http://schemas.openxmlformats.org/officeDocument/2006/relationships/slideLayout" Target="../slideLayouts/slideLayout563.xml"/><Relationship Id="rId9" Type="http://schemas.openxmlformats.org/officeDocument/2006/relationships/slideLayout" Target="../slideLayouts/slideLayout568.xml"/><Relationship Id="rId14" Type="http://schemas.openxmlformats.org/officeDocument/2006/relationships/image" Target="../media/image1.jpeg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574.xml"/><Relationship Id="rId7" Type="http://schemas.openxmlformats.org/officeDocument/2006/relationships/slideLayout" Target="../slideLayouts/slideLayout578.xml"/><Relationship Id="rId12" Type="http://schemas.openxmlformats.org/officeDocument/2006/relationships/theme" Target="../theme/theme53.xml"/><Relationship Id="rId2" Type="http://schemas.openxmlformats.org/officeDocument/2006/relationships/slideLayout" Target="../slideLayouts/slideLayout573.xml"/><Relationship Id="rId1" Type="http://schemas.openxmlformats.org/officeDocument/2006/relationships/slideLayout" Target="../slideLayouts/slideLayout572.xml"/><Relationship Id="rId6" Type="http://schemas.openxmlformats.org/officeDocument/2006/relationships/slideLayout" Target="../slideLayouts/slideLayout577.xml"/><Relationship Id="rId11" Type="http://schemas.openxmlformats.org/officeDocument/2006/relationships/slideLayout" Target="../slideLayouts/slideLayout582.xml"/><Relationship Id="rId5" Type="http://schemas.openxmlformats.org/officeDocument/2006/relationships/slideLayout" Target="../slideLayouts/slideLayout576.xml"/><Relationship Id="rId10" Type="http://schemas.openxmlformats.org/officeDocument/2006/relationships/slideLayout" Target="../slideLayouts/slideLayout581.xml"/><Relationship Id="rId4" Type="http://schemas.openxmlformats.org/officeDocument/2006/relationships/slideLayout" Target="../slideLayouts/slideLayout575.xml"/><Relationship Id="rId9" Type="http://schemas.openxmlformats.org/officeDocument/2006/relationships/slideLayout" Target="../slideLayouts/slideLayout580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0.xml"/><Relationship Id="rId13" Type="http://schemas.openxmlformats.org/officeDocument/2006/relationships/slideLayout" Target="../slideLayouts/slideLayout595.xml"/><Relationship Id="rId3" Type="http://schemas.openxmlformats.org/officeDocument/2006/relationships/slideLayout" Target="../slideLayouts/slideLayout585.xml"/><Relationship Id="rId7" Type="http://schemas.openxmlformats.org/officeDocument/2006/relationships/slideLayout" Target="../slideLayouts/slideLayout589.xml"/><Relationship Id="rId12" Type="http://schemas.openxmlformats.org/officeDocument/2006/relationships/slideLayout" Target="../slideLayouts/slideLayout594.xml"/><Relationship Id="rId2" Type="http://schemas.openxmlformats.org/officeDocument/2006/relationships/slideLayout" Target="../slideLayouts/slideLayout584.xml"/><Relationship Id="rId1" Type="http://schemas.openxmlformats.org/officeDocument/2006/relationships/slideLayout" Target="../slideLayouts/slideLayout583.xml"/><Relationship Id="rId6" Type="http://schemas.openxmlformats.org/officeDocument/2006/relationships/slideLayout" Target="../slideLayouts/slideLayout588.xml"/><Relationship Id="rId11" Type="http://schemas.openxmlformats.org/officeDocument/2006/relationships/slideLayout" Target="../slideLayouts/slideLayout593.xml"/><Relationship Id="rId5" Type="http://schemas.openxmlformats.org/officeDocument/2006/relationships/slideLayout" Target="../slideLayouts/slideLayout587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592.xml"/><Relationship Id="rId4" Type="http://schemas.openxmlformats.org/officeDocument/2006/relationships/slideLayout" Target="../slideLayouts/slideLayout586.xml"/><Relationship Id="rId9" Type="http://schemas.openxmlformats.org/officeDocument/2006/relationships/slideLayout" Target="../slideLayouts/slideLayout591.xml"/><Relationship Id="rId14" Type="http://schemas.openxmlformats.org/officeDocument/2006/relationships/theme" Target="../theme/theme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3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598.xml"/><Relationship Id="rId7" Type="http://schemas.openxmlformats.org/officeDocument/2006/relationships/slideLayout" Target="../slideLayouts/slideLayout602.xml"/><Relationship Id="rId12" Type="http://schemas.openxmlformats.org/officeDocument/2006/relationships/theme" Target="../theme/theme55.xml"/><Relationship Id="rId2" Type="http://schemas.openxmlformats.org/officeDocument/2006/relationships/slideLayout" Target="../slideLayouts/slideLayout597.xml"/><Relationship Id="rId1" Type="http://schemas.openxmlformats.org/officeDocument/2006/relationships/slideLayout" Target="../slideLayouts/slideLayout596.xml"/><Relationship Id="rId6" Type="http://schemas.openxmlformats.org/officeDocument/2006/relationships/slideLayout" Target="../slideLayouts/slideLayout601.xml"/><Relationship Id="rId11" Type="http://schemas.openxmlformats.org/officeDocument/2006/relationships/slideLayout" Target="../slideLayouts/slideLayout606.xml"/><Relationship Id="rId5" Type="http://schemas.openxmlformats.org/officeDocument/2006/relationships/slideLayout" Target="../slideLayouts/slideLayout600.xml"/><Relationship Id="rId10" Type="http://schemas.openxmlformats.org/officeDocument/2006/relationships/slideLayout" Target="../slideLayouts/slideLayout605.xml"/><Relationship Id="rId4" Type="http://schemas.openxmlformats.org/officeDocument/2006/relationships/slideLayout" Target="../slideLayouts/slideLayout599.xml"/><Relationship Id="rId9" Type="http://schemas.openxmlformats.org/officeDocument/2006/relationships/slideLayout" Target="../slideLayouts/slideLayout604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4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609.xml"/><Relationship Id="rId7" Type="http://schemas.openxmlformats.org/officeDocument/2006/relationships/slideLayout" Target="../slideLayouts/slideLayout613.xml"/><Relationship Id="rId12" Type="http://schemas.openxmlformats.org/officeDocument/2006/relationships/theme" Target="../theme/theme56.xml"/><Relationship Id="rId2" Type="http://schemas.openxmlformats.org/officeDocument/2006/relationships/slideLayout" Target="../slideLayouts/slideLayout608.xml"/><Relationship Id="rId1" Type="http://schemas.openxmlformats.org/officeDocument/2006/relationships/slideLayout" Target="../slideLayouts/slideLayout607.xml"/><Relationship Id="rId6" Type="http://schemas.openxmlformats.org/officeDocument/2006/relationships/slideLayout" Target="../slideLayouts/slideLayout612.xml"/><Relationship Id="rId11" Type="http://schemas.openxmlformats.org/officeDocument/2006/relationships/slideLayout" Target="../slideLayouts/slideLayout617.xml"/><Relationship Id="rId5" Type="http://schemas.openxmlformats.org/officeDocument/2006/relationships/slideLayout" Target="../slideLayouts/slideLayout611.xml"/><Relationship Id="rId10" Type="http://schemas.openxmlformats.org/officeDocument/2006/relationships/slideLayout" Target="../slideLayouts/slideLayout616.xml"/><Relationship Id="rId4" Type="http://schemas.openxmlformats.org/officeDocument/2006/relationships/slideLayout" Target="../slideLayouts/slideLayout610.xml"/><Relationship Id="rId9" Type="http://schemas.openxmlformats.org/officeDocument/2006/relationships/slideLayout" Target="../slideLayouts/slideLayout615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5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620.xml"/><Relationship Id="rId7" Type="http://schemas.openxmlformats.org/officeDocument/2006/relationships/slideLayout" Target="../slideLayouts/slideLayout624.xml"/><Relationship Id="rId12" Type="http://schemas.openxmlformats.org/officeDocument/2006/relationships/theme" Target="../theme/theme57.xml"/><Relationship Id="rId2" Type="http://schemas.openxmlformats.org/officeDocument/2006/relationships/slideLayout" Target="../slideLayouts/slideLayout619.xml"/><Relationship Id="rId1" Type="http://schemas.openxmlformats.org/officeDocument/2006/relationships/slideLayout" Target="../slideLayouts/slideLayout618.xml"/><Relationship Id="rId6" Type="http://schemas.openxmlformats.org/officeDocument/2006/relationships/slideLayout" Target="../slideLayouts/slideLayout623.xml"/><Relationship Id="rId11" Type="http://schemas.openxmlformats.org/officeDocument/2006/relationships/slideLayout" Target="../slideLayouts/slideLayout628.xml"/><Relationship Id="rId5" Type="http://schemas.openxmlformats.org/officeDocument/2006/relationships/slideLayout" Target="../slideLayouts/slideLayout622.xml"/><Relationship Id="rId10" Type="http://schemas.openxmlformats.org/officeDocument/2006/relationships/slideLayout" Target="../slideLayouts/slideLayout627.xml"/><Relationship Id="rId4" Type="http://schemas.openxmlformats.org/officeDocument/2006/relationships/slideLayout" Target="../slideLayouts/slideLayout621.xml"/><Relationship Id="rId9" Type="http://schemas.openxmlformats.org/officeDocument/2006/relationships/slideLayout" Target="../slideLayouts/slideLayout626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6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631.xml"/><Relationship Id="rId7" Type="http://schemas.openxmlformats.org/officeDocument/2006/relationships/slideLayout" Target="../slideLayouts/slideLayout635.xml"/><Relationship Id="rId12" Type="http://schemas.openxmlformats.org/officeDocument/2006/relationships/theme" Target="../theme/theme58.xml"/><Relationship Id="rId2" Type="http://schemas.openxmlformats.org/officeDocument/2006/relationships/slideLayout" Target="../slideLayouts/slideLayout630.xml"/><Relationship Id="rId1" Type="http://schemas.openxmlformats.org/officeDocument/2006/relationships/slideLayout" Target="../slideLayouts/slideLayout629.xml"/><Relationship Id="rId6" Type="http://schemas.openxmlformats.org/officeDocument/2006/relationships/slideLayout" Target="../slideLayouts/slideLayout634.xml"/><Relationship Id="rId11" Type="http://schemas.openxmlformats.org/officeDocument/2006/relationships/slideLayout" Target="../slideLayouts/slideLayout639.xml"/><Relationship Id="rId5" Type="http://schemas.openxmlformats.org/officeDocument/2006/relationships/slideLayout" Target="../slideLayouts/slideLayout633.xml"/><Relationship Id="rId10" Type="http://schemas.openxmlformats.org/officeDocument/2006/relationships/slideLayout" Target="../slideLayouts/slideLayout638.xml"/><Relationship Id="rId4" Type="http://schemas.openxmlformats.org/officeDocument/2006/relationships/slideLayout" Target="../slideLayouts/slideLayout632.xml"/><Relationship Id="rId9" Type="http://schemas.openxmlformats.org/officeDocument/2006/relationships/slideLayout" Target="../slideLayouts/slideLayout637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7.xml"/><Relationship Id="rId13" Type="http://schemas.openxmlformats.org/officeDocument/2006/relationships/theme" Target="../theme/theme59.xml"/><Relationship Id="rId3" Type="http://schemas.openxmlformats.org/officeDocument/2006/relationships/slideLayout" Target="../slideLayouts/slideLayout642.xml"/><Relationship Id="rId7" Type="http://schemas.openxmlformats.org/officeDocument/2006/relationships/slideLayout" Target="../slideLayouts/slideLayout646.xml"/><Relationship Id="rId12" Type="http://schemas.openxmlformats.org/officeDocument/2006/relationships/slideLayout" Target="../slideLayouts/slideLayout651.xml"/><Relationship Id="rId2" Type="http://schemas.openxmlformats.org/officeDocument/2006/relationships/slideLayout" Target="../slideLayouts/slideLayout641.xml"/><Relationship Id="rId1" Type="http://schemas.openxmlformats.org/officeDocument/2006/relationships/slideLayout" Target="../slideLayouts/slideLayout640.xml"/><Relationship Id="rId6" Type="http://schemas.openxmlformats.org/officeDocument/2006/relationships/slideLayout" Target="../slideLayouts/slideLayout645.xml"/><Relationship Id="rId11" Type="http://schemas.openxmlformats.org/officeDocument/2006/relationships/slideLayout" Target="../slideLayouts/slideLayout650.xml"/><Relationship Id="rId5" Type="http://schemas.openxmlformats.org/officeDocument/2006/relationships/slideLayout" Target="../slideLayouts/slideLayout644.xml"/><Relationship Id="rId10" Type="http://schemas.openxmlformats.org/officeDocument/2006/relationships/slideLayout" Target="../slideLayouts/slideLayout649.xml"/><Relationship Id="rId4" Type="http://schemas.openxmlformats.org/officeDocument/2006/relationships/slideLayout" Target="../slideLayouts/slideLayout643.xml"/><Relationship Id="rId9" Type="http://schemas.openxmlformats.org/officeDocument/2006/relationships/slideLayout" Target="../slideLayouts/slideLayout648.xml"/><Relationship Id="rId14" Type="http://schemas.openxmlformats.org/officeDocument/2006/relationships/image" Target="../media/image1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63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9.xml"/><Relationship Id="rId13" Type="http://schemas.openxmlformats.org/officeDocument/2006/relationships/theme" Target="../theme/theme60.xml"/><Relationship Id="rId3" Type="http://schemas.openxmlformats.org/officeDocument/2006/relationships/slideLayout" Target="../slideLayouts/slideLayout654.xml"/><Relationship Id="rId7" Type="http://schemas.openxmlformats.org/officeDocument/2006/relationships/slideLayout" Target="../slideLayouts/slideLayout658.xml"/><Relationship Id="rId12" Type="http://schemas.openxmlformats.org/officeDocument/2006/relationships/slideLayout" Target="../slideLayouts/slideLayout663.xml"/><Relationship Id="rId2" Type="http://schemas.openxmlformats.org/officeDocument/2006/relationships/slideLayout" Target="../slideLayouts/slideLayout653.xml"/><Relationship Id="rId1" Type="http://schemas.openxmlformats.org/officeDocument/2006/relationships/slideLayout" Target="../slideLayouts/slideLayout652.xml"/><Relationship Id="rId6" Type="http://schemas.openxmlformats.org/officeDocument/2006/relationships/slideLayout" Target="../slideLayouts/slideLayout657.xml"/><Relationship Id="rId11" Type="http://schemas.openxmlformats.org/officeDocument/2006/relationships/slideLayout" Target="../slideLayouts/slideLayout662.xml"/><Relationship Id="rId5" Type="http://schemas.openxmlformats.org/officeDocument/2006/relationships/slideLayout" Target="../slideLayouts/slideLayout656.xml"/><Relationship Id="rId10" Type="http://schemas.openxmlformats.org/officeDocument/2006/relationships/slideLayout" Target="../slideLayouts/slideLayout661.xml"/><Relationship Id="rId4" Type="http://schemas.openxmlformats.org/officeDocument/2006/relationships/slideLayout" Target="../slideLayouts/slideLayout655.xml"/><Relationship Id="rId9" Type="http://schemas.openxmlformats.org/officeDocument/2006/relationships/slideLayout" Target="../slideLayouts/slideLayout660.xml"/><Relationship Id="rId14" Type="http://schemas.openxmlformats.org/officeDocument/2006/relationships/image" Target="../media/image1.jpeg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1.xml"/><Relationship Id="rId13" Type="http://schemas.openxmlformats.org/officeDocument/2006/relationships/slideLayout" Target="../slideLayouts/slideLayout676.xml"/><Relationship Id="rId3" Type="http://schemas.openxmlformats.org/officeDocument/2006/relationships/slideLayout" Target="../slideLayouts/slideLayout666.xml"/><Relationship Id="rId7" Type="http://schemas.openxmlformats.org/officeDocument/2006/relationships/slideLayout" Target="../slideLayouts/slideLayout670.xml"/><Relationship Id="rId12" Type="http://schemas.openxmlformats.org/officeDocument/2006/relationships/slideLayout" Target="../slideLayouts/slideLayout675.xml"/><Relationship Id="rId2" Type="http://schemas.openxmlformats.org/officeDocument/2006/relationships/slideLayout" Target="../slideLayouts/slideLayout665.xml"/><Relationship Id="rId1" Type="http://schemas.openxmlformats.org/officeDocument/2006/relationships/slideLayout" Target="../slideLayouts/slideLayout664.xml"/><Relationship Id="rId6" Type="http://schemas.openxmlformats.org/officeDocument/2006/relationships/slideLayout" Target="../slideLayouts/slideLayout669.xml"/><Relationship Id="rId11" Type="http://schemas.openxmlformats.org/officeDocument/2006/relationships/slideLayout" Target="../slideLayouts/slideLayout674.xml"/><Relationship Id="rId5" Type="http://schemas.openxmlformats.org/officeDocument/2006/relationships/slideLayout" Target="../slideLayouts/slideLayout668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673.xml"/><Relationship Id="rId4" Type="http://schemas.openxmlformats.org/officeDocument/2006/relationships/slideLayout" Target="../slideLayouts/slideLayout667.xml"/><Relationship Id="rId9" Type="http://schemas.openxmlformats.org/officeDocument/2006/relationships/slideLayout" Target="../slideLayouts/slideLayout672.xml"/><Relationship Id="rId14" Type="http://schemas.openxmlformats.org/officeDocument/2006/relationships/theme" Target="../theme/theme61.xml"/></Relationships>
</file>

<file path=ppt/slideMasters/_rels/slideMaster6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4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679.xml"/><Relationship Id="rId7" Type="http://schemas.openxmlformats.org/officeDocument/2006/relationships/slideLayout" Target="../slideLayouts/slideLayout683.xml"/><Relationship Id="rId12" Type="http://schemas.openxmlformats.org/officeDocument/2006/relationships/theme" Target="../theme/theme62.xml"/><Relationship Id="rId2" Type="http://schemas.openxmlformats.org/officeDocument/2006/relationships/slideLayout" Target="../slideLayouts/slideLayout678.xml"/><Relationship Id="rId1" Type="http://schemas.openxmlformats.org/officeDocument/2006/relationships/slideLayout" Target="../slideLayouts/slideLayout677.xml"/><Relationship Id="rId6" Type="http://schemas.openxmlformats.org/officeDocument/2006/relationships/slideLayout" Target="../slideLayouts/slideLayout682.xml"/><Relationship Id="rId11" Type="http://schemas.openxmlformats.org/officeDocument/2006/relationships/slideLayout" Target="../slideLayouts/slideLayout687.xml"/><Relationship Id="rId5" Type="http://schemas.openxmlformats.org/officeDocument/2006/relationships/slideLayout" Target="../slideLayouts/slideLayout681.xml"/><Relationship Id="rId10" Type="http://schemas.openxmlformats.org/officeDocument/2006/relationships/slideLayout" Target="../slideLayouts/slideLayout686.xml"/><Relationship Id="rId4" Type="http://schemas.openxmlformats.org/officeDocument/2006/relationships/slideLayout" Target="../slideLayouts/slideLayout680.xml"/><Relationship Id="rId9" Type="http://schemas.openxmlformats.org/officeDocument/2006/relationships/slideLayout" Target="../slideLayouts/slideLayout685.xml"/></Relationships>
</file>

<file path=ppt/slideMasters/_rels/slideMaster6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5.xml"/><Relationship Id="rId13" Type="http://schemas.openxmlformats.org/officeDocument/2006/relationships/slideLayout" Target="../slideLayouts/slideLayout700.xml"/><Relationship Id="rId3" Type="http://schemas.openxmlformats.org/officeDocument/2006/relationships/slideLayout" Target="../slideLayouts/slideLayout690.xml"/><Relationship Id="rId7" Type="http://schemas.openxmlformats.org/officeDocument/2006/relationships/slideLayout" Target="../slideLayouts/slideLayout694.xml"/><Relationship Id="rId12" Type="http://schemas.openxmlformats.org/officeDocument/2006/relationships/slideLayout" Target="../slideLayouts/slideLayout699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689.xml"/><Relationship Id="rId16" Type="http://schemas.openxmlformats.org/officeDocument/2006/relationships/theme" Target="../theme/theme63.xml"/><Relationship Id="rId1" Type="http://schemas.openxmlformats.org/officeDocument/2006/relationships/slideLayout" Target="../slideLayouts/slideLayout688.xml"/><Relationship Id="rId6" Type="http://schemas.openxmlformats.org/officeDocument/2006/relationships/slideLayout" Target="../slideLayouts/slideLayout693.xml"/><Relationship Id="rId11" Type="http://schemas.openxmlformats.org/officeDocument/2006/relationships/slideLayout" Target="../slideLayouts/slideLayout698.xml"/><Relationship Id="rId5" Type="http://schemas.openxmlformats.org/officeDocument/2006/relationships/slideLayout" Target="../slideLayouts/slideLayout692.xml"/><Relationship Id="rId15" Type="http://schemas.openxmlformats.org/officeDocument/2006/relationships/slideLayout" Target="../slideLayouts/slideLayout702.xml"/><Relationship Id="rId10" Type="http://schemas.openxmlformats.org/officeDocument/2006/relationships/slideLayout" Target="../slideLayouts/slideLayout697.xml"/><Relationship Id="rId4" Type="http://schemas.openxmlformats.org/officeDocument/2006/relationships/slideLayout" Target="../slideLayouts/slideLayout691.xml"/><Relationship Id="rId9" Type="http://schemas.openxmlformats.org/officeDocument/2006/relationships/slideLayout" Target="../slideLayouts/slideLayout696.xml"/><Relationship Id="rId14" Type="http://schemas.openxmlformats.org/officeDocument/2006/relationships/slideLayout" Target="../slideLayouts/slideLayout701.xml"/></Relationships>
</file>

<file path=ppt/slideMasters/_rels/slideMaster6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10.xml"/><Relationship Id="rId13" Type="http://schemas.openxmlformats.org/officeDocument/2006/relationships/theme" Target="../theme/theme64.xml"/><Relationship Id="rId3" Type="http://schemas.openxmlformats.org/officeDocument/2006/relationships/slideLayout" Target="../slideLayouts/slideLayout705.xml"/><Relationship Id="rId7" Type="http://schemas.openxmlformats.org/officeDocument/2006/relationships/slideLayout" Target="../slideLayouts/slideLayout709.xml"/><Relationship Id="rId12" Type="http://schemas.openxmlformats.org/officeDocument/2006/relationships/slideLayout" Target="../slideLayouts/slideLayout714.xml"/><Relationship Id="rId2" Type="http://schemas.openxmlformats.org/officeDocument/2006/relationships/slideLayout" Target="../slideLayouts/slideLayout704.xml"/><Relationship Id="rId1" Type="http://schemas.openxmlformats.org/officeDocument/2006/relationships/slideLayout" Target="../slideLayouts/slideLayout703.xml"/><Relationship Id="rId6" Type="http://schemas.openxmlformats.org/officeDocument/2006/relationships/slideLayout" Target="../slideLayouts/slideLayout708.xml"/><Relationship Id="rId11" Type="http://schemas.openxmlformats.org/officeDocument/2006/relationships/slideLayout" Target="../slideLayouts/slideLayout713.xml"/><Relationship Id="rId5" Type="http://schemas.openxmlformats.org/officeDocument/2006/relationships/slideLayout" Target="../slideLayouts/slideLayout707.xml"/><Relationship Id="rId10" Type="http://schemas.openxmlformats.org/officeDocument/2006/relationships/slideLayout" Target="../slideLayouts/slideLayout712.xml"/><Relationship Id="rId4" Type="http://schemas.openxmlformats.org/officeDocument/2006/relationships/slideLayout" Target="../slideLayouts/slideLayout706.xml"/><Relationship Id="rId9" Type="http://schemas.openxmlformats.org/officeDocument/2006/relationships/slideLayout" Target="../slideLayouts/slideLayout711.xml"/><Relationship Id="rId14" Type="http://schemas.openxmlformats.org/officeDocument/2006/relationships/image" Target="../media/image1.jpeg"/></Relationships>
</file>

<file path=ppt/slideMasters/_rels/slideMaster6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2.xml"/><Relationship Id="rId13" Type="http://schemas.openxmlformats.org/officeDocument/2006/relationships/theme" Target="../theme/theme65.xml"/><Relationship Id="rId3" Type="http://schemas.openxmlformats.org/officeDocument/2006/relationships/slideLayout" Target="../slideLayouts/slideLayout717.xml"/><Relationship Id="rId7" Type="http://schemas.openxmlformats.org/officeDocument/2006/relationships/slideLayout" Target="../slideLayouts/slideLayout721.xml"/><Relationship Id="rId12" Type="http://schemas.openxmlformats.org/officeDocument/2006/relationships/slideLayout" Target="../slideLayouts/slideLayout726.xml"/><Relationship Id="rId2" Type="http://schemas.openxmlformats.org/officeDocument/2006/relationships/slideLayout" Target="../slideLayouts/slideLayout716.xml"/><Relationship Id="rId1" Type="http://schemas.openxmlformats.org/officeDocument/2006/relationships/slideLayout" Target="../slideLayouts/slideLayout715.xml"/><Relationship Id="rId6" Type="http://schemas.openxmlformats.org/officeDocument/2006/relationships/slideLayout" Target="../slideLayouts/slideLayout720.xml"/><Relationship Id="rId11" Type="http://schemas.openxmlformats.org/officeDocument/2006/relationships/slideLayout" Target="../slideLayouts/slideLayout725.xml"/><Relationship Id="rId5" Type="http://schemas.openxmlformats.org/officeDocument/2006/relationships/slideLayout" Target="../slideLayouts/slideLayout719.xml"/><Relationship Id="rId10" Type="http://schemas.openxmlformats.org/officeDocument/2006/relationships/slideLayout" Target="../slideLayouts/slideLayout724.xml"/><Relationship Id="rId4" Type="http://schemas.openxmlformats.org/officeDocument/2006/relationships/slideLayout" Target="../slideLayouts/slideLayout718.xml"/><Relationship Id="rId9" Type="http://schemas.openxmlformats.org/officeDocument/2006/relationships/slideLayout" Target="../slideLayouts/slideLayout723.xml"/><Relationship Id="rId14" Type="http://schemas.openxmlformats.org/officeDocument/2006/relationships/image" Target="../media/image1.jpeg"/></Relationships>
</file>

<file path=ppt/slideMasters/_rels/slideMaster6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4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729.xml"/><Relationship Id="rId7" Type="http://schemas.openxmlformats.org/officeDocument/2006/relationships/slideLayout" Target="../slideLayouts/slideLayout733.xml"/><Relationship Id="rId12" Type="http://schemas.openxmlformats.org/officeDocument/2006/relationships/theme" Target="../theme/theme66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728.xml"/><Relationship Id="rId16" Type="http://schemas.openxmlformats.org/officeDocument/2006/relationships/image" Target="../media/image15.emf"/><Relationship Id="rId1" Type="http://schemas.openxmlformats.org/officeDocument/2006/relationships/slideLayout" Target="../slideLayouts/slideLayout727.xml"/><Relationship Id="rId6" Type="http://schemas.openxmlformats.org/officeDocument/2006/relationships/slideLayout" Target="../slideLayouts/slideLayout732.xml"/><Relationship Id="rId11" Type="http://schemas.openxmlformats.org/officeDocument/2006/relationships/slideLayout" Target="../slideLayouts/slideLayout737.xml"/><Relationship Id="rId5" Type="http://schemas.openxmlformats.org/officeDocument/2006/relationships/slideLayout" Target="../slideLayouts/slideLayout731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736.xml"/><Relationship Id="rId4" Type="http://schemas.openxmlformats.org/officeDocument/2006/relationships/slideLayout" Target="../slideLayouts/slideLayout730.xml"/><Relationship Id="rId9" Type="http://schemas.openxmlformats.org/officeDocument/2006/relationships/slideLayout" Target="../slideLayouts/slideLayout735.xml"/><Relationship Id="rId14" Type="http://schemas.openxmlformats.org/officeDocument/2006/relationships/tags" Target="../tags/tag1.xml"/></Relationships>
</file>

<file path=ppt/slideMasters/_rels/slideMaster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67.xml"/><Relationship Id="rId1" Type="http://schemas.openxmlformats.org/officeDocument/2006/relationships/slideLayout" Target="../slideLayouts/slideLayout738.xml"/></Relationships>
</file>

<file path=ppt/slideMasters/_rels/slideMaster6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6.xml"/><Relationship Id="rId13" Type="http://schemas.openxmlformats.org/officeDocument/2006/relationships/slideLayout" Target="../slideLayouts/slideLayout751.xml"/><Relationship Id="rId3" Type="http://schemas.openxmlformats.org/officeDocument/2006/relationships/slideLayout" Target="../slideLayouts/slideLayout741.xml"/><Relationship Id="rId7" Type="http://schemas.openxmlformats.org/officeDocument/2006/relationships/slideLayout" Target="../slideLayouts/slideLayout745.xml"/><Relationship Id="rId12" Type="http://schemas.openxmlformats.org/officeDocument/2006/relationships/slideLayout" Target="../slideLayouts/slideLayout750.xml"/><Relationship Id="rId2" Type="http://schemas.openxmlformats.org/officeDocument/2006/relationships/slideLayout" Target="../slideLayouts/slideLayout740.xml"/><Relationship Id="rId1" Type="http://schemas.openxmlformats.org/officeDocument/2006/relationships/slideLayout" Target="../slideLayouts/slideLayout739.xml"/><Relationship Id="rId6" Type="http://schemas.openxmlformats.org/officeDocument/2006/relationships/slideLayout" Target="../slideLayouts/slideLayout744.xml"/><Relationship Id="rId11" Type="http://schemas.openxmlformats.org/officeDocument/2006/relationships/slideLayout" Target="../slideLayouts/slideLayout749.xml"/><Relationship Id="rId5" Type="http://schemas.openxmlformats.org/officeDocument/2006/relationships/slideLayout" Target="../slideLayouts/slideLayout743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748.xml"/><Relationship Id="rId4" Type="http://schemas.openxmlformats.org/officeDocument/2006/relationships/slideLayout" Target="../slideLayouts/slideLayout742.xml"/><Relationship Id="rId9" Type="http://schemas.openxmlformats.org/officeDocument/2006/relationships/slideLayout" Target="../slideLayouts/slideLayout747.xml"/><Relationship Id="rId14" Type="http://schemas.openxmlformats.org/officeDocument/2006/relationships/theme" Target="../theme/theme68.xml"/></Relationships>
</file>

<file path=ppt/slideMasters/_rels/slideMaster6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9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754.xml"/><Relationship Id="rId7" Type="http://schemas.openxmlformats.org/officeDocument/2006/relationships/slideLayout" Target="../slideLayouts/slideLayout758.xml"/><Relationship Id="rId12" Type="http://schemas.openxmlformats.org/officeDocument/2006/relationships/theme" Target="../theme/theme69.xml"/><Relationship Id="rId2" Type="http://schemas.openxmlformats.org/officeDocument/2006/relationships/slideLayout" Target="../slideLayouts/slideLayout753.xml"/><Relationship Id="rId1" Type="http://schemas.openxmlformats.org/officeDocument/2006/relationships/slideLayout" Target="../slideLayouts/slideLayout752.xml"/><Relationship Id="rId6" Type="http://schemas.openxmlformats.org/officeDocument/2006/relationships/slideLayout" Target="../slideLayouts/slideLayout757.xml"/><Relationship Id="rId11" Type="http://schemas.openxmlformats.org/officeDocument/2006/relationships/slideLayout" Target="../slideLayouts/slideLayout762.xml"/><Relationship Id="rId5" Type="http://schemas.openxmlformats.org/officeDocument/2006/relationships/slideLayout" Target="../slideLayouts/slideLayout756.xml"/><Relationship Id="rId10" Type="http://schemas.openxmlformats.org/officeDocument/2006/relationships/slideLayout" Target="../slideLayouts/slideLayout761.xml"/><Relationship Id="rId4" Type="http://schemas.openxmlformats.org/officeDocument/2006/relationships/slideLayout" Target="../slideLayouts/slideLayout755.xml"/><Relationship Id="rId9" Type="http://schemas.openxmlformats.org/officeDocument/2006/relationships/slideLayout" Target="../slideLayouts/slideLayout7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image" Target="../media/image1.jpeg"/></Relationships>
</file>

<file path=ppt/slideMasters/_rels/slideMaster7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0.xml"/><Relationship Id="rId13" Type="http://schemas.openxmlformats.org/officeDocument/2006/relationships/theme" Target="../theme/theme70.xml"/><Relationship Id="rId3" Type="http://schemas.openxmlformats.org/officeDocument/2006/relationships/slideLayout" Target="../slideLayouts/slideLayout765.xml"/><Relationship Id="rId7" Type="http://schemas.openxmlformats.org/officeDocument/2006/relationships/slideLayout" Target="../slideLayouts/slideLayout769.xml"/><Relationship Id="rId12" Type="http://schemas.openxmlformats.org/officeDocument/2006/relationships/slideLayout" Target="../slideLayouts/slideLayout774.xml"/><Relationship Id="rId2" Type="http://schemas.openxmlformats.org/officeDocument/2006/relationships/slideLayout" Target="../slideLayouts/slideLayout764.xml"/><Relationship Id="rId1" Type="http://schemas.openxmlformats.org/officeDocument/2006/relationships/slideLayout" Target="../slideLayouts/slideLayout763.xml"/><Relationship Id="rId6" Type="http://schemas.openxmlformats.org/officeDocument/2006/relationships/slideLayout" Target="../slideLayouts/slideLayout768.xml"/><Relationship Id="rId11" Type="http://schemas.openxmlformats.org/officeDocument/2006/relationships/slideLayout" Target="../slideLayouts/slideLayout773.xml"/><Relationship Id="rId5" Type="http://schemas.openxmlformats.org/officeDocument/2006/relationships/slideLayout" Target="../slideLayouts/slideLayout767.xml"/><Relationship Id="rId10" Type="http://schemas.openxmlformats.org/officeDocument/2006/relationships/slideLayout" Target="../slideLayouts/slideLayout772.xml"/><Relationship Id="rId4" Type="http://schemas.openxmlformats.org/officeDocument/2006/relationships/slideLayout" Target="../slideLayouts/slideLayout766.xml"/><Relationship Id="rId9" Type="http://schemas.openxmlformats.org/officeDocument/2006/relationships/slideLayout" Target="../slideLayouts/slideLayout771.xml"/><Relationship Id="rId14" Type="http://schemas.openxmlformats.org/officeDocument/2006/relationships/image" Target="../media/image1.jpeg"/></Relationships>
</file>

<file path=ppt/slideMasters/_rels/slideMaster7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2.xml"/><Relationship Id="rId13" Type="http://schemas.openxmlformats.org/officeDocument/2006/relationships/theme" Target="../theme/theme71.xml"/><Relationship Id="rId3" Type="http://schemas.openxmlformats.org/officeDocument/2006/relationships/slideLayout" Target="../slideLayouts/slideLayout777.xml"/><Relationship Id="rId7" Type="http://schemas.openxmlformats.org/officeDocument/2006/relationships/slideLayout" Target="../slideLayouts/slideLayout781.xml"/><Relationship Id="rId12" Type="http://schemas.openxmlformats.org/officeDocument/2006/relationships/slideLayout" Target="../slideLayouts/slideLayout786.xml"/><Relationship Id="rId2" Type="http://schemas.openxmlformats.org/officeDocument/2006/relationships/slideLayout" Target="../slideLayouts/slideLayout776.xml"/><Relationship Id="rId1" Type="http://schemas.openxmlformats.org/officeDocument/2006/relationships/slideLayout" Target="../slideLayouts/slideLayout775.xml"/><Relationship Id="rId6" Type="http://schemas.openxmlformats.org/officeDocument/2006/relationships/slideLayout" Target="../slideLayouts/slideLayout780.xml"/><Relationship Id="rId11" Type="http://schemas.openxmlformats.org/officeDocument/2006/relationships/slideLayout" Target="../slideLayouts/slideLayout785.xml"/><Relationship Id="rId5" Type="http://schemas.openxmlformats.org/officeDocument/2006/relationships/slideLayout" Target="../slideLayouts/slideLayout779.xml"/><Relationship Id="rId10" Type="http://schemas.openxmlformats.org/officeDocument/2006/relationships/slideLayout" Target="../slideLayouts/slideLayout784.xml"/><Relationship Id="rId4" Type="http://schemas.openxmlformats.org/officeDocument/2006/relationships/slideLayout" Target="../slideLayouts/slideLayout778.xml"/><Relationship Id="rId9" Type="http://schemas.openxmlformats.org/officeDocument/2006/relationships/slideLayout" Target="../slideLayouts/slideLayout783.xml"/><Relationship Id="rId14" Type="http://schemas.openxmlformats.org/officeDocument/2006/relationships/image" Target="../media/image1.jpeg"/></Relationships>
</file>

<file path=ppt/slideMasters/_rels/slideMaster7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4.xml"/><Relationship Id="rId13" Type="http://schemas.openxmlformats.org/officeDocument/2006/relationships/theme" Target="../theme/theme72.xml"/><Relationship Id="rId3" Type="http://schemas.openxmlformats.org/officeDocument/2006/relationships/slideLayout" Target="../slideLayouts/slideLayout789.xml"/><Relationship Id="rId7" Type="http://schemas.openxmlformats.org/officeDocument/2006/relationships/slideLayout" Target="../slideLayouts/slideLayout793.xml"/><Relationship Id="rId12" Type="http://schemas.openxmlformats.org/officeDocument/2006/relationships/slideLayout" Target="../slideLayouts/slideLayout798.xml"/><Relationship Id="rId2" Type="http://schemas.openxmlformats.org/officeDocument/2006/relationships/slideLayout" Target="../slideLayouts/slideLayout788.xml"/><Relationship Id="rId1" Type="http://schemas.openxmlformats.org/officeDocument/2006/relationships/slideLayout" Target="../slideLayouts/slideLayout787.xml"/><Relationship Id="rId6" Type="http://schemas.openxmlformats.org/officeDocument/2006/relationships/slideLayout" Target="../slideLayouts/slideLayout792.xml"/><Relationship Id="rId11" Type="http://schemas.openxmlformats.org/officeDocument/2006/relationships/slideLayout" Target="../slideLayouts/slideLayout797.xml"/><Relationship Id="rId5" Type="http://schemas.openxmlformats.org/officeDocument/2006/relationships/slideLayout" Target="../slideLayouts/slideLayout791.xml"/><Relationship Id="rId10" Type="http://schemas.openxmlformats.org/officeDocument/2006/relationships/slideLayout" Target="../slideLayouts/slideLayout796.xml"/><Relationship Id="rId4" Type="http://schemas.openxmlformats.org/officeDocument/2006/relationships/slideLayout" Target="../slideLayouts/slideLayout790.xml"/><Relationship Id="rId9" Type="http://schemas.openxmlformats.org/officeDocument/2006/relationships/slideLayout" Target="../slideLayouts/slideLayout795.xml"/><Relationship Id="rId14" Type="http://schemas.openxmlformats.org/officeDocument/2006/relationships/image" Target="../media/image1.jpeg"/></Relationships>
</file>

<file path=ppt/slideMasters/_rels/slideMaster7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6.xml"/><Relationship Id="rId13" Type="http://schemas.openxmlformats.org/officeDocument/2006/relationships/theme" Target="../theme/theme73.xml"/><Relationship Id="rId3" Type="http://schemas.openxmlformats.org/officeDocument/2006/relationships/slideLayout" Target="../slideLayouts/slideLayout801.xml"/><Relationship Id="rId7" Type="http://schemas.openxmlformats.org/officeDocument/2006/relationships/slideLayout" Target="../slideLayouts/slideLayout805.xml"/><Relationship Id="rId12" Type="http://schemas.openxmlformats.org/officeDocument/2006/relationships/slideLayout" Target="../slideLayouts/slideLayout810.xml"/><Relationship Id="rId2" Type="http://schemas.openxmlformats.org/officeDocument/2006/relationships/slideLayout" Target="../slideLayouts/slideLayout800.xml"/><Relationship Id="rId1" Type="http://schemas.openxmlformats.org/officeDocument/2006/relationships/slideLayout" Target="../slideLayouts/slideLayout799.xml"/><Relationship Id="rId6" Type="http://schemas.openxmlformats.org/officeDocument/2006/relationships/slideLayout" Target="../slideLayouts/slideLayout804.xml"/><Relationship Id="rId11" Type="http://schemas.openxmlformats.org/officeDocument/2006/relationships/slideLayout" Target="../slideLayouts/slideLayout809.xml"/><Relationship Id="rId5" Type="http://schemas.openxmlformats.org/officeDocument/2006/relationships/slideLayout" Target="../slideLayouts/slideLayout803.xml"/><Relationship Id="rId10" Type="http://schemas.openxmlformats.org/officeDocument/2006/relationships/slideLayout" Target="../slideLayouts/slideLayout808.xml"/><Relationship Id="rId4" Type="http://schemas.openxmlformats.org/officeDocument/2006/relationships/slideLayout" Target="../slideLayouts/slideLayout802.xml"/><Relationship Id="rId9" Type="http://schemas.openxmlformats.org/officeDocument/2006/relationships/slideLayout" Target="../slideLayouts/slideLayout807.xml"/><Relationship Id="rId14" Type="http://schemas.openxmlformats.org/officeDocument/2006/relationships/image" Target="../media/image1.jpeg"/></Relationships>
</file>

<file path=ppt/slideMasters/_rels/slideMaster7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8.xml"/><Relationship Id="rId13" Type="http://schemas.openxmlformats.org/officeDocument/2006/relationships/theme" Target="../theme/theme74.xml"/><Relationship Id="rId3" Type="http://schemas.openxmlformats.org/officeDocument/2006/relationships/slideLayout" Target="../slideLayouts/slideLayout813.xml"/><Relationship Id="rId7" Type="http://schemas.openxmlformats.org/officeDocument/2006/relationships/slideLayout" Target="../slideLayouts/slideLayout817.xml"/><Relationship Id="rId12" Type="http://schemas.openxmlformats.org/officeDocument/2006/relationships/slideLayout" Target="../slideLayouts/slideLayout822.xml"/><Relationship Id="rId2" Type="http://schemas.openxmlformats.org/officeDocument/2006/relationships/slideLayout" Target="../slideLayouts/slideLayout812.xml"/><Relationship Id="rId1" Type="http://schemas.openxmlformats.org/officeDocument/2006/relationships/slideLayout" Target="../slideLayouts/slideLayout811.xml"/><Relationship Id="rId6" Type="http://schemas.openxmlformats.org/officeDocument/2006/relationships/slideLayout" Target="../slideLayouts/slideLayout816.xml"/><Relationship Id="rId11" Type="http://schemas.openxmlformats.org/officeDocument/2006/relationships/slideLayout" Target="../slideLayouts/slideLayout821.xml"/><Relationship Id="rId5" Type="http://schemas.openxmlformats.org/officeDocument/2006/relationships/slideLayout" Target="../slideLayouts/slideLayout815.xml"/><Relationship Id="rId10" Type="http://schemas.openxmlformats.org/officeDocument/2006/relationships/slideLayout" Target="../slideLayouts/slideLayout820.xml"/><Relationship Id="rId4" Type="http://schemas.openxmlformats.org/officeDocument/2006/relationships/slideLayout" Target="../slideLayouts/slideLayout814.xml"/><Relationship Id="rId9" Type="http://schemas.openxmlformats.org/officeDocument/2006/relationships/slideLayout" Target="../slideLayouts/slideLayout819.xml"/><Relationship Id="rId14" Type="http://schemas.openxmlformats.org/officeDocument/2006/relationships/image" Target="../media/image1.jpeg"/></Relationships>
</file>

<file path=ppt/slideMasters/_rels/slideMaster7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0.xml"/><Relationship Id="rId13" Type="http://schemas.openxmlformats.org/officeDocument/2006/relationships/slideLayout" Target="../slideLayouts/slideLayout835.xml"/><Relationship Id="rId3" Type="http://schemas.openxmlformats.org/officeDocument/2006/relationships/slideLayout" Target="../slideLayouts/slideLayout825.xml"/><Relationship Id="rId7" Type="http://schemas.openxmlformats.org/officeDocument/2006/relationships/slideLayout" Target="../slideLayouts/slideLayout829.xml"/><Relationship Id="rId12" Type="http://schemas.openxmlformats.org/officeDocument/2006/relationships/slideLayout" Target="../slideLayouts/slideLayout834.xml"/><Relationship Id="rId2" Type="http://schemas.openxmlformats.org/officeDocument/2006/relationships/slideLayout" Target="../slideLayouts/slideLayout824.xml"/><Relationship Id="rId1" Type="http://schemas.openxmlformats.org/officeDocument/2006/relationships/slideLayout" Target="../slideLayouts/slideLayout823.xml"/><Relationship Id="rId6" Type="http://schemas.openxmlformats.org/officeDocument/2006/relationships/slideLayout" Target="../slideLayouts/slideLayout828.xml"/><Relationship Id="rId11" Type="http://schemas.openxmlformats.org/officeDocument/2006/relationships/slideLayout" Target="../slideLayouts/slideLayout833.xml"/><Relationship Id="rId5" Type="http://schemas.openxmlformats.org/officeDocument/2006/relationships/slideLayout" Target="../slideLayouts/slideLayout827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832.xml"/><Relationship Id="rId4" Type="http://schemas.openxmlformats.org/officeDocument/2006/relationships/slideLayout" Target="../slideLayouts/slideLayout826.xml"/><Relationship Id="rId9" Type="http://schemas.openxmlformats.org/officeDocument/2006/relationships/slideLayout" Target="../slideLayouts/slideLayout831.xml"/><Relationship Id="rId14" Type="http://schemas.openxmlformats.org/officeDocument/2006/relationships/theme" Target="../theme/theme75.xml"/></Relationships>
</file>

<file path=ppt/slideMasters/_rels/slideMaster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76.xml"/><Relationship Id="rId1" Type="http://schemas.openxmlformats.org/officeDocument/2006/relationships/slideLayout" Target="../slideLayouts/slideLayout836.xml"/></Relationships>
</file>

<file path=ppt/slideMasters/_rels/slideMaster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77.xml"/><Relationship Id="rId1" Type="http://schemas.openxmlformats.org/officeDocument/2006/relationships/slideLayout" Target="../slideLayouts/slideLayout837.xml"/></Relationships>
</file>

<file path=ppt/slideMasters/_rels/slideMaster7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5.xml"/><Relationship Id="rId13" Type="http://schemas.openxmlformats.org/officeDocument/2006/relationships/theme" Target="../theme/theme78.xml"/><Relationship Id="rId3" Type="http://schemas.openxmlformats.org/officeDocument/2006/relationships/slideLayout" Target="../slideLayouts/slideLayout840.xml"/><Relationship Id="rId7" Type="http://schemas.openxmlformats.org/officeDocument/2006/relationships/slideLayout" Target="../slideLayouts/slideLayout844.xml"/><Relationship Id="rId12" Type="http://schemas.openxmlformats.org/officeDocument/2006/relationships/slideLayout" Target="../slideLayouts/slideLayout849.xml"/><Relationship Id="rId2" Type="http://schemas.openxmlformats.org/officeDocument/2006/relationships/slideLayout" Target="../slideLayouts/slideLayout839.xml"/><Relationship Id="rId1" Type="http://schemas.openxmlformats.org/officeDocument/2006/relationships/slideLayout" Target="../slideLayouts/slideLayout838.xml"/><Relationship Id="rId6" Type="http://schemas.openxmlformats.org/officeDocument/2006/relationships/slideLayout" Target="../slideLayouts/slideLayout843.xml"/><Relationship Id="rId11" Type="http://schemas.openxmlformats.org/officeDocument/2006/relationships/slideLayout" Target="../slideLayouts/slideLayout848.xml"/><Relationship Id="rId5" Type="http://schemas.openxmlformats.org/officeDocument/2006/relationships/slideLayout" Target="../slideLayouts/slideLayout842.xml"/><Relationship Id="rId10" Type="http://schemas.openxmlformats.org/officeDocument/2006/relationships/slideLayout" Target="../slideLayouts/slideLayout847.xml"/><Relationship Id="rId4" Type="http://schemas.openxmlformats.org/officeDocument/2006/relationships/slideLayout" Target="../slideLayouts/slideLayout841.xml"/><Relationship Id="rId9" Type="http://schemas.openxmlformats.org/officeDocument/2006/relationships/slideLayout" Target="../slideLayouts/slideLayout846.xml"/><Relationship Id="rId14" Type="http://schemas.openxmlformats.org/officeDocument/2006/relationships/image" Target="../media/image1.jpeg"/></Relationships>
</file>

<file path=ppt/slideMasters/_rels/slideMaster7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7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852.xml"/><Relationship Id="rId7" Type="http://schemas.openxmlformats.org/officeDocument/2006/relationships/slideLayout" Target="../slideLayouts/slideLayout856.xml"/><Relationship Id="rId12" Type="http://schemas.openxmlformats.org/officeDocument/2006/relationships/theme" Target="../theme/theme79.xml"/><Relationship Id="rId2" Type="http://schemas.openxmlformats.org/officeDocument/2006/relationships/slideLayout" Target="../slideLayouts/slideLayout851.xml"/><Relationship Id="rId1" Type="http://schemas.openxmlformats.org/officeDocument/2006/relationships/slideLayout" Target="../slideLayouts/slideLayout850.xml"/><Relationship Id="rId6" Type="http://schemas.openxmlformats.org/officeDocument/2006/relationships/slideLayout" Target="../slideLayouts/slideLayout855.xml"/><Relationship Id="rId11" Type="http://schemas.openxmlformats.org/officeDocument/2006/relationships/slideLayout" Target="../slideLayouts/slideLayout860.xml"/><Relationship Id="rId5" Type="http://schemas.openxmlformats.org/officeDocument/2006/relationships/slideLayout" Target="../slideLayouts/slideLayout854.xml"/><Relationship Id="rId10" Type="http://schemas.openxmlformats.org/officeDocument/2006/relationships/slideLayout" Target="../slideLayouts/slideLayout859.xml"/><Relationship Id="rId4" Type="http://schemas.openxmlformats.org/officeDocument/2006/relationships/slideLayout" Target="../slideLayouts/slideLayout853.xml"/><Relationship Id="rId9" Type="http://schemas.openxmlformats.org/officeDocument/2006/relationships/slideLayout" Target="../slideLayouts/slideLayout85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image" Target="../media/image1.jpeg"/></Relationships>
</file>

<file path=ppt/slideMasters/_rels/slideMaster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80.xml"/><Relationship Id="rId1" Type="http://schemas.openxmlformats.org/officeDocument/2006/relationships/slideLayout" Target="../slideLayouts/slideLayout861.xml"/></Relationships>
</file>

<file path=ppt/slideMasters/_rels/slideMaster8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9.xml"/><Relationship Id="rId13" Type="http://schemas.openxmlformats.org/officeDocument/2006/relationships/slideLayout" Target="../slideLayouts/slideLayout874.xml"/><Relationship Id="rId3" Type="http://schemas.openxmlformats.org/officeDocument/2006/relationships/slideLayout" Target="../slideLayouts/slideLayout864.xml"/><Relationship Id="rId7" Type="http://schemas.openxmlformats.org/officeDocument/2006/relationships/slideLayout" Target="../slideLayouts/slideLayout868.xml"/><Relationship Id="rId12" Type="http://schemas.openxmlformats.org/officeDocument/2006/relationships/slideLayout" Target="../slideLayouts/slideLayout873.xml"/><Relationship Id="rId2" Type="http://schemas.openxmlformats.org/officeDocument/2006/relationships/slideLayout" Target="../slideLayouts/slideLayout863.xml"/><Relationship Id="rId1" Type="http://schemas.openxmlformats.org/officeDocument/2006/relationships/slideLayout" Target="../slideLayouts/slideLayout862.xml"/><Relationship Id="rId6" Type="http://schemas.openxmlformats.org/officeDocument/2006/relationships/slideLayout" Target="../slideLayouts/slideLayout867.xml"/><Relationship Id="rId11" Type="http://schemas.openxmlformats.org/officeDocument/2006/relationships/slideLayout" Target="../slideLayouts/slideLayout872.xml"/><Relationship Id="rId5" Type="http://schemas.openxmlformats.org/officeDocument/2006/relationships/slideLayout" Target="../slideLayouts/slideLayout866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871.xml"/><Relationship Id="rId4" Type="http://schemas.openxmlformats.org/officeDocument/2006/relationships/slideLayout" Target="../slideLayouts/slideLayout865.xml"/><Relationship Id="rId9" Type="http://schemas.openxmlformats.org/officeDocument/2006/relationships/slideLayout" Target="../slideLayouts/slideLayout870.xml"/><Relationship Id="rId14" Type="http://schemas.openxmlformats.org/officeDocument/2006/relationships/theme" Target="../theme/theme81.xml"/></Relationships>
</file>

<file path=ppt/slideMasters/_rels/slideMaster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82.xml"/><Relationship Id="rId1" Type="http://schemas.openxmlformats.org/officeDocument/2006/relationships/slideLayout" Target="../slideLayouts/slideLayout875.xml"/></Relationships>
</file>

<file path=ppt/slideMasters/_rels/slideMaster83.xml.rels><?xml version="1.0" encoding="UTF-8" standalone="yes"?>
<Relationships xmlns="http://schemas.openxmlformats.org/package/2006/relationships"><Relationship Id="rId3" Type="http://schemas.openxmlformats.org/officeDocument/2006/relationships/theme" Target="../theme/theme83.xml"/><Relationship Id="rId2" Type="http://schemas.openxmlformats.org/officeDocument/2006/relationships/slideLayout" Target="../slideLayouts/slideLayout877.xml"/><Relationship Id="rId1" Type="http://schemas.openxmlformats.org/officeDocument/2006/relationships/slideLayout" Target="../slideLayouts/slideLayout876.xml"/><Relationship Id="rId4" Type="http://schemas.openxmlformats.org/officeDocument/2006/relationships/image" Target="../media/image5.jpeg"/></Relationships>
</file>

<file path=ppt/slideMasters/_rels/slideMaster8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5.xml"/><Relationship Id="rId13" Type="http://schemas.openxmlformats.org/officeDocument/2006/relationships/theme" Target="../theme/theme84.xml"/><Relationship Id="rId3" Type="http://schemas.openxmlformats.org/officeDocument/2006/relationships/slideLayout" Target="../slideLayouts/slideLayout880.xml"/><Relationship Id="rId7" Type="http://schemas.openxmlformats.org/officeDocument/2006/relationships/slideLayout" Target="../slideLayouts/slideLayout884.xml"/><Relationship Id="rId12" Type="http://schemas.openxmlformats.org/officeDocument/2006/relationships/slideLayout" Target="../slideLayouts/slideLayout889.xml"/><Relationship Id="rId2" Type="http://schemas.openxmlformats.org/officeDocument/2006/relationships/slideLayout" Target="../slideLayouts/slideLayout879.xml"/><Relationship Id="rId1" Type="http://schemas.openxmlformats.org/officeDocument/2006/relationships/slideLayout" Target="../slideLayouts/slideLayout878.xml"/><Relationship Id="rId6" Type="http://schemas.openxmlformats.org/officeDocument/2006/relationships/slideLayout" Target="../slideLayouts/slideLayout883.xml"/><Relationship Id="rId11" Type="http://schemas.openxmlformats.org/officeDocument/2006/relationships/slideLayout" Target="../slideLayouts/slideLayout888.xml"/><Relationship Id="rId5" Type="http://schemas.openxmlformats.org/officeDocument/2006/relationships/slideLayout" Target="../slideLayouts/slideLayout882.xml"/><Relationship Id="rId10" Type="http://schemas.openxmlformats.org/officeDocument/2006/relationships/slideLayout" Target="../slideLayouts/slideLayout887.xml"/><Relationship Id="rId4" Type="http://schemas.openxmlformats.org/officeDocument/2006/relationships/slideLayout" Target="../slideLayouts/slideLayout881.xml"/><Relationship Id="rId9" Type="http://schemas.openxmlformats.org/officeDocument/2006/relationships/slideLayout" Target="../slideLayouts/slideLayout886.xml"/><Relationship Id="rId14" Type="http://schemas.openxmlformats.org/officeDocument/2006/relationships/image" Target="../media/image1.jpeg"/></Relationships>
</file>

<file path=ppt/slideMasters/_rels/slideMaster8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7.xml"/><Relationship Id="rId13" Type="http://schemas.openxmlformats.org/officeDocument/2006/relationships/slideLayout" Target="../slideLayouts/slideLayout902.xml"/><Relationship Id="rId3" Type="http://schemas.openxmlformats.org/officeDocument/2006/relationships/slideLayout" Target="../slideLayouts/slideLayout892.xml"/><Relationship Id="rId7" Type="http://schemas.openxmlformats.org/officeDocument/2006/relationships/slideLayout" Target="../slideLayouts/slideLayout896.xml"/><Relationship Id="rId12" Type="http://schemas.openxmlformats.org/officeDocument/2006/relationships/slideLayout" Target="../slideLayouts/slideLayout901.xml"/><Relationship Id="rId2" Type="http://schemas.openxmlformats.org/officeDocument/2006/relationships/slideLayout" Target="../slideLayouts/slideLayout891.xml"/><Relationship Id="rId1" Type="http://schemas.openxmlformats.org/officeDocument/2006/relationships/slideLayout" Target="../slideLayouts/slideLayout890.xml"/><Relationship Id="rId6" Type="http://schemas.openxmlformats.org/officeDocument/2006/relationships/slideLayout" Target="../slideLayouts/slideLayout895.xml"/><Relationship Id="rId11" Type="http://schemas.openxmlformats.org/officeDocument/2006/relationships/slideLayout" Target="../slideLayouts/slideLayout900.xml"/><Relationship Id="rId5" Type="http://schemas.openxmlformats.org/officeDocument/2006/relationships/slideLayout" Target="../slideLayouts/slideLayout894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899.xml"/><Relationship Id="rId4" Type="http://schemas.openxmlformats.org/officeDocument/2006/relationships/slideLayout" Target="../slideLayouts/slideLayout893.xml"/><Relationship Id="rId9" Type="http://schemas.openxmlformats.org/officeDocument/2006/relationships/slideLayout" Target="../slideLayouts/slideLayout898.xml"/><Relationship Id="rId14" Type="http://schemas.openxmlformats.org/officeDocument/2006/relationships/theme" Target="../theme/theme85.xml"/></Relationships>
</file>

<file path=ppt/slideMasters/_rels/slideMaster8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0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905.xml"/><Relationship Id="rId7" Type="http://schemas.openxmlformats.org/officeDocument/2006/relationships/slideLayout" Target="../slideLayouts/slideLayout909.xml"/><Relationship Id="rId12" Type="http://schemas.openxmlformats.org/officeDocument/2006/relationships/theme" Target="../theme/theme86.xml"/><Relationship Id="rId2" Type="http://schemas.openxmlformats.org/officeDocument/2006/relationships/slideLayout" Target="../slideLayouts/slideLayout904.xml"/><Relationship Id="rId1" Type="http://schemas.openxmlformats.org/officeDocument/2006/relationships/slideLayout" Target="../slideLayouts/slideLayout903.xml"/><Relationship Id="rId6" Type="http://schemas.openxmlformats.org/officeDocument/2006/relationships/slideLayout" Target="../slideLayouts/slideLayout908.xml"/><Relationship Id="rId11" Type="http://schemas.openxmlformats.org/officeDocument/2006/relationships/slideLayout" Target="../slideLayouts/slideLayout913.xml"/><Relationship Id="rId5" Type="http://schemas.openxmlformats.org/officeDocument/2006/relationships/slideLayout" Target="../slideLayouts/slideLayout907.xml"/><Relationship Id="rId10" Type="http://schemas.openxmlformats.org/officeDocument/2006/relationships/slideLayout" Target="../slideLayouts/slideLayout912.xml"/><Relationship Id="rId4" Type="http://schemas.openxmlformats.org/officeDocument/2006/relationships/slideLayout" Target="../slideLayouts/slideLayout906.xml"/><Relationship Id="rId9" Type="http://schemas.openxmlformats.org/officeDocument/2006/relationships/slideLayout" Target="../slideLayouts/slideLayout911.xml"/></Relationships>
</file>

<file path=ppt/slideMasters/_rels/slideMaster8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6.xml"/><Relationship Id="rId2" Type="http://schemas.openxmlformats.org/officeDocument/2006/relationships/slideLayout" Target="../slideLayouts/slideLayout915.xml"/><Relationship Id="rId1" Type="http://schemas.openxmlformats.org/officeDocument/2006/relationships/slideLayout" Target="../slideLayouts/slideLayout914.xml"/><Relationship Id="rId5" Type="http://schemas.openxmlformats.org/officeDocument/2006/relationships/image" Target="../media/image18.jpeg"/><Relationship Id="rId4" Type="http://schemas.openxmlformats.org/officeDocument/2006/relationships/theme" Target="../theme/theme87.xml"/></Relationships>
</file>

<file path=ppt/slideMasters/_rels/slideMaster8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4.xml"/><Relationship Id="rId13" Type="http://schemas.openxmlformats.org/officeDocument/2006/relationships/image" Target="../media/image16.jpeg"/><Relationship Id="rId3" Type="http://schemas.openxmlformats.org/officeDocument/2006/relationships/slideLayout" Target="../slideLayouts/slideLayout919.xml"/><Relationship Id="rId7" Type="http://schemas.openxmlformats.org/officeDocument/2006/relationships/slideLayout" Target="../slideLayouts/slideLayout923.xml"/><Relationship Id="rId12" Type="http://schemas.openxmlformats.org/officeDocument/2006/relationships/theme" Target="../theme/theme88.xml"/><Relationship Id="rId2" Type="http://schemas.openxmlformats.org/officeDocument/2006/relationships/slideLayout" Target="../slideLayouts/slideLayout918.xml"/><Relationship Id="rId1" Type="http://schemas.openxmlformats.org/officeDocument/2006/relationships/slideLayout" Target="../slideLayouts/slideLayout917.xml"/><Relationship Id="rId6" Type="http://schemas.openxmlformats.org/officeDocument/2006/relationships/slideLayout" Target="../slideLayouts/slideLayout922.xml"/><Relationship Id="rId11" Type="http://schemas.openxmlformats.org/officeDocument/2006/relationships/slideLayout" Target="../slideLayouts/slideLayout927.xml"/><Relationship Id="rId5" Type="http://schemas.openxmlformats.org/officeDocument/2006/relationships/slideLayout" Target="../slideLayouts/slideLayout921.xml"/><Relationship Id="rId10" Type="http://schemas.openxmlformats.org/officeDocument/2006/relationships/slideLayout" Target="../slideLayouts/slideLayout926.xml"/><Relationship Id="rId4" Type="http://schemas.openxmlformats.org/officeDocument/2006/relationships/slideLayout" Target="../slideLayouts/slideLayout920.xml"/><Relationship Id="rId9" Type="http://schemas.openxmlformats.org/officeDocument/2006/relationships/slideLayout" Target="../slideLayouts/slideLayout925.xml"/></Relationships>
</file>

<file path=ppt/slideMasters/_rels/slideMaster8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30.xml"/><Relationship Id="rId2" Type="http://schemas.openxmlformats.org/officeDocument/2006/relationships/slideLayout" Target="../slideLayouts/slideLayout929.xml"/><Relationship Id="rId1" Type="http://schemas.openxmlformats.org/officeDocument/2006/relationships/slideLayout" Target="../slideLayouts/slideLayout928.xml"/><Relationship Id="rId5" Type="http://schemas.openxmlformats.org/officeDocument/2006/relationships/image" Target="../media/image18.jpeg"/><Relationship Id="rId4" Type="http://schemas.openxmlformats.org/officeDocument/2006/relationships/theme" Target="../theme/theme8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image" Target="../media/image1.jpeg"/></Relationships>
</file>

<file path=ppt/slideMasters/_rels/slideMaster9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8.xml"/><Relationship Id="rId3" Type="http://schemas.openxmlformats.org/officeDocument/2006/relationships/slideLayout" Target="../slideLayouts/slideLayout933.xml"/><Relationship Id="rId7" Type="http://schemas.openxmlformats.org/officeDocument/2006/relationships/slideLayout" Target="../slideLayouts/slideLayout937.xml"/><Relationship Id="rId12" Type="http://schemas.openxmlformats.org/officeDocument/2006/relationships/theme" Target="../theme/theme90.xml"/><Relationship Id="rId2" Type="http://schemas.openxmlformats.org/officeDocument/2006/relationships/slideLayout" Target="../slideLayouts/slideLayout932.xml"/><Relationship Id="rId1" Type="http://schemas.openxmlformats.org/officeDocument/2006/relationships/slideLayout" Target="../slideLayouts/slideLayout931.xml"/><Relationship Id="rId6" Type="http://schemas.openxmlformats.org/officeDocument/2006/relationships/slideLayout" Target="../slideLayouts/slideLayout936.xml"/><Relationship Id="rId11" Type="http://schemas.openxmlformats.org/officeDocument/2006/relationships/slideLayout" Target="../slideLayouts/slideLayout941.xml"/><Relationship Id="rId5" Type="http://schemas.openxmlformats.org/officeDocument/2006/relationships/slideLayout" Target="../slideLayouts/slideLayout935.xml"/><Relationship Id="rId10" Type="http://schemas.openxmlformats.org/officeDocument/2006/relationships/slideLayout" Target="../slideLayouts/slideLayout940.xml"/><Relationship Id="rId4" Type="http://schemas.openxmlformats.org/officeDocument/2006/relationships/slideLayout" Target="../slideLayouts/slideLayout934.xml"/><Relationship Id="rId9" Type="http://schemas.openxmlformats.org/officeDocument/2006/relationships/slideLayout" Target="../slideLayouts/slideLayout939.xml"/></Relationships>
</file>

<file path=ppt/slideMasters/_rels/slideMaster9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9.xml"/><Relationship Id="rId13" Type="http://schemas.openxmlformats.org/officeDocument/2006/relationships/image" Target="../media/image13.jpeg"/><Relationship Id="rId3" Type="http://schemas.openxmlformats.org/officeDocument/2006/relationships/slideLayout" Target="../slideLayouts/slideLayout944.xml"/><Relationship Id="rId7" Type="http://schemas.openxmlformats.org/officeDocument/2006/relationships/slideLayout" Target="../slideLayouts/slideLayout948.xml"/><Relationship Id="rId12" Type="http://schemas.openxmlformats.org/officeDocument/2006/relationships/theme" Target="../theme/theme91.xml"/><Relationship Id="rId2" Type="http://schemas.openxmlformats.org/officeDocument/2006/relationships/slideLayout" Target="../slideLayouts/slideLayout943.xml"/><Relationship Id="rId1" Type="http://schemas.openxmlformats.org/officeDocument/2006/relationships/slideLayout" Target="../slideLayouts/slideLayout942.xml"/><Relationship Id="rId6" Type="http://schemas.openxmlformats.org/officeDocument/2006/relationships/slideLayout" Target="../slideLayouts/slideLayout947.xml"/><Relationship Id="rId11" Type="http://schemas.openxmlformats.org/officeDocument/2006/relationships/slideLayout" Target="../slideLayouts/slideLayout952.xml"/><Relationship Id="rId5" Type="http://schemas.openxmlformats.org/officeDocument/2006/relationships/slideLayout" Target="../slideLayouts/slideLayout946.xml"/><Relationship Id="rId10" Type="http://schemas.openxmlformats.org/officeDocument/2006/relationships/slideLayout" Target="../slideLayouts/slideLayout951.xml"/><Relationship Id="rId4" Type="http://schemas.openxmlformats.org/officeDocument/2006/relationships/slideLayout" Target="../slideLayouts/slideLayout945.xml"/><Relationship Id="rId9" Type="http://schemas.openxmlformats.org/officeDocument/2006/relationships/slideLayout" Target="../slideLayouts/slideLayout950.xml"/></Relationships>
</file>

<file path=ppt/slideMasters/_rels/slideMaster9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0.xml"/><Relationship Id="rId13" Type="http://schemas.openxmlformats.org/officeDocument/2006/relationships/theme" Target="../theme/theme92.xml"/><Relationship Id="rId3" Type="http://schemas.openxmlformats.org/officeDocument/2006/relationships/slideLayout" Target="../slideLayouts/slideLayout955.xml"/><Relationship Id="rId7" Type="http://schemas.openxmlformats.org/officeDocument/2006/relationships/slideLayout" Target="../slideLayouts/slideLayout959.xml"/><Relationship Id="rId12" Type="http://schemas.openxmlformats.org/officeDocument/2006/relationships/slideLayout" Target="../slideLayouts/slideLayout964.xml"/><Relationship Id="rId2" Type="http://schemas.openxmlformats.org/officeDocument/2006/relationships/slideLayout" Target="../slideLayouts/slideLayout954.xml"/><Relationship Id="rId1" Type="http://schemas.openxmlformats.org/officeDocument/2006/relationships/slideLayout" Target="../slideLayouts/slideLayout953.xml"/><Relationship Id="rId6" Type="http://schemas.openxmlformats.org/officeDocument/2006/relationships/slideLayout" Target="../slideLayouts/slideLayout958.xml"/><Relationship Id="rId11" Type="http://schemas.openxmlformats.org/officeDocument/2006/relationships/slideLayout" Target="../slideLayouts/slideLayout963.xml"/><Relationship Id="rId5" Type="http://schemas.openxmlformats.org/officeDocument/2006/relationships/slideLayout" Target="../slideLayouts/slideLayout957.xml"/><Relationship Id="rId10" Type="http://schemas.openxmlformats.org/officeDocument/2006/relationships/slideLayout" Target="../slideLayouts/slideLayout962.xml"/><Relationship Id="rId4" Type="http://schemas.openxmlformats.org/officeDocument/2006/relationships/slideLayout" Target="../slideLayouts/slideLayout956.xml"/><Relationship Id="rId9" Type="http://schemas.openxmlformats.org/officeDocument/2006/relationships/slideLayout" Target="../slideLayouts/slideLayout961.xml"/><Relationship Id="rId14" Type="http://schemas.openxmlformats.org/officeDocument/2006/relationships/image" Target="../media/image1.jpeg"/></Relationships>
</file>

<file path=ppt/slideMasters/_rels/slideMaster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theme" Target="../theme/theme93.xml"/><Relationship Id="rId1" Type="http://schemas.openxmlformats.org/officeDocument/2006/relationships/slideLayout" Target="../slideLayouts/slideLayout965.xml"/></Relationships>
</file>

<file path=ppt/slideMasters/_rels/slideMaster9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3.xml"/><Relationship Id="rId13" Type="http://schemas.openxmlformats.org/officeDocument/2006/relationships/slideLayout" Target="../slideLayouts/slideLayout978.xml"/><Relationship Id="rId3" Type="http://schemas.openxmlformats.org/officeDocument/2006/relationships/slideLayout" Target="../slideLayouts/slideLayout968.xml"/><Relationship Id="rId7" Type="http://schemas.openxmlformats.org/officeDocument/2006/relationships/slideLayout" Target="../slideLayouts/slideLayout972.xml"/><Relationship Id="rId12" Type="http://schemas.openxmlformats.org/officeDocument/2006/relationships/slideLayout" Target="../slideLayouts/slideLayout977.xml"/><Relationship Id="rId2" Type="http://schemas.openxmlformats.org/officeDocument/2006/relationships/slideLayout" Target="../slideLayouts/slideLayout967.xml"/><Relationship Id="rId1" Type="http://schemas.openxmlformats.org/officeDocument/2006/relationships/slideLayout" Target="../slideLayouts/slideLayout966.xml"/><Relationship Id="rId6" Type="http://schemas.openxmlformats.org/officeDocument/2006/relationships/slideLayout" Target="../slideLayouts/slideLayout971.xml"/><Relationship Id="rId11" Type="http://schemas.openxmlformats.org/officeDocument/2006/relationships/slideLayout" Target="../slideLayouts/slideLayout976.xml"/><Relationship Id="rId5" Type="http://schemas.openxmlformats.org/officeDocument/2006/relationships/slideLayout" Target="../slideLayouts/slideLayout970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975.xml"/><Relationship Id="rId4" Type="http://schemas.openxmlformats.org/officeDocument/2006/relationships/slideLayout" Target="../slideLayouts/slideLayout969.xml"/><Relationship Id="rId9" Type="http://schemas.openxmlformats.org/officeDocument/2006/relationships/slideLayout" Target="../slideLayouts/slideLayout974.xml"/><Relationship Id="rId14" Type="http://schemas.openxmlformats.org/officeDocument/2006/relationships/theme" Target="../theme/theme94.xml"/></Relationships>
</file>

<file path=ppt/slideMasters/_rels/slideMaster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theme" Target="../theme/theme95.xml"/><Relationship Id="rId1" Type="http://schemas.openxmlformats.org/officeDocument/2006/relationships/slideLayout" Target="../slideLayouts/slideLayout979.xml"/></Relationships>
</file>

<file path=ppt/slideMasters/_rels/slideMaster9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7.xml"/><Relationship Id="rId13" Type="http://schemas.openxmlformats.org/officeDocument/2006/relationships/theme" Target="../theme/theme96.xml"/><Relationship Id="rId3" Type="http://schemas.openxmlformats.org/officeDocument/2006/relationships/slideLayout" Target="../slideLayouts/slideLayout982.xml"/><Relationship Id="rId7" Type="http://schemas.openxmlformats.org/officeDocument/2006/relationships/slideLayout" Target="../slideLayouts/slideLayout986.xml"/><Relationship Id="rId12" Type="http://schemas.openxmlformats.org/officeDocument/2006/relationships/slideLayout" Target="../slideLayouts/slideLayout991.xml"/><Relationship Id="rId2" Type="http://schemas.openxmlformats.org/officeDocument/2006/relationships/slideLayout" Target="../slideLayouts/slideLayout981.xml"/><Relationship Id="rId1" Type="http://schemas.openxmlformats.org/officeDocument/2006/relationships/slideLayout" Target="../slideLayouts/slideLayout980.xml"/><Relationship Id="rId6" Type="http://schemas.openxmlformats.org/officeDocument/2006/relationships/slideLayout" Target="../slideLayouts/slideLayout985.xml"/><Relationship Id="rId11" Type="http://schemas.openxmlformats.org/officeDocument/2006/relationships/slideLayout" Target="../slideLayouts/slideLayout990.xml"/><Relationship Id="rId5" Type="http://schemas.openxmlformats.org/officeDocument/2006/relationships/slideLayout" Target="../slideLayouts/slideLayout984.xml"/><Relationship Id="rId10" Type="http://schemas.openxmlformats.org/officeDocument/2006/relationships/slideLayout" Target="../slideLayouts/slideLayout989.xml"/><Relationship Id="rId4" Type="http://schemas.openxmlformats.org/officeDocument/2006/relationships/slideLayout" Target="../slideLayouts/slideLayout983.xml"/><Relationship Id="rId9" Type="http://schemas.openxmlformats.org/officeDocument/2006/relationships/slideLayout" Target="../slideLayouts/slideLayout988.xml"/><Relationship Id="rId14" Type="http://schemas.openxmlformats.org/officeDocument/2006/relationships/image" Target="../media/image1.jpeg"/></Relationships>
</file>

<file path=ppt/slideMasters/_rels/slideMaster9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9.xml"/><Relationship Id="rId13" Type="http://schemas.openxmlformats.org/officeDocument/2006/relationships/theme" Target="../theme/theme97.xml"/><Relationship Id="rId3" Type="http://schemas.openxmlformats.org/officeDocument/2006/relationships/slideLayout" Target="../slideLayouts/slideLayout994.xml"/><Relationship Id="rId7" Type="http://schemas.openxmlformats.org/officeDocument/2006/relationships/slideLayout" Target="../slideLayouts/slideLayout998.xml"/><Relationship Id="rId12" Type="http://schemas.openxmlformats.org/officeDocument/2006/relationships/slideLayout" Target="../slideLayouts/slideLayout1003.xml"/><Relationship Id="rId2" Type="http://schemas.openxmlformats.org/officeDocument/2006/relationships/slideLayout" Target="../slideLayouts/slideLayout993.xml"/><Relationship Id="rId1" Type="http://schemas.openxmlformats.org/officeDocument/2006/relationships/slideLayout" Target="../slideLayouts/slideLayout992.xml"/><Relationship Id="rId6" Type="http://schemas.openxmlformats.org/officeDocument/2006/relationships/slideLayout" Target="../slideLayouts/slideLayout997.xml"/><Relationship Id="rId11" Type="http://schemas.openxmlformats.org/officeDocument/2006/relationships/slideLayout" Target="../slideLayouts/slideLayout1002.xml"/><Relationship Id="rId5" Type="http://schemas.openxmlformats.org/officeDocument/2006/relationships/slideLayout" Target="../slideLayouts/slideLayout996.xml"/><Relationship Id="rId10" Type="http://schemas.openxmlformats.org/officeDocument/2006/relationships/slideLayout" Target="../slideLayouts/slideLayout1001.xml"/><Relationship Id="rId4" Type="http://schemas.openxmlformats.org/officeDocument/2006/relationships/slideLayout" Target="../slideLayouts/slideLayout995.xml"/><Relationship Id="rId9" Type="http://schemas.openxmlformats.org/officeDocument/2006/relationships/slideLayout" Target="../slideLayouts/slideLayout1000.xml"/><Relationship Id="rId14" Type="http://schemas.openxmlformats.org/officeDocument/2006/relationships/image" Target="../media/image19.jpeg"/></Relationships>
</file>

<file path=ppt/slideMasters/_rels/slideMaster98.xml.rels><?xml version="1.0" encoding="UTF-8" standalone="yes"?>
<Relationships xmlns="http://schemas.openxmlformats.org/package/2006/relationships"><Relationship Id="rId3" Type="http://schemas.openxmlformats.org/officeDocument/2006/relationships/theme" Target="../theme/theme98.xml"/><Relationship Id="rId2" Type="http://schemas.openxmlformats.org/officeDocument/2006/relationships/slideLayout" Target="../slideLayouts/slideLayout1005.xml"/><Relationship Id="rId1" Type="http://schemas.openxmlformats.org/officeDocument/2006/relationships/slideLayout" Target="../slideLayouts/slideLayout1004.xml"/><Relationship Id="rId4" Type="http://schemas.openxmlformats.org/officeDocument/2006/relationships/image" Target="../media/image5.jpeg"/></Relationships>
</file>

<file path=ppt/slideMasters/_rels/slideMaster9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3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1008.xml"/><Relationship Id="rId7" Type="http://schemas.openxmlformats.org/officeDocument/2006/relationships/slideLayout" Target="../slideLayouts/slideLayout1012.xml"/><Relationship Id="rId12" Type="http://schemas.openxmlformats.org/officeDocument/2006/relationships/theme" Target="../theme/theme99.xml"/><Relationship Id="rId2" Type="http://schemas.openxmlformats.org/officeDocument/2006/relationships/slideLayout" Target="../slideLayouts/slideLayout1007.xml"/><Relationship Id="rId1" Type="http://schemas.openxmlformats.org/officeDocument/2006/relationships/slideLayout" Target="../slideLayouts/slideLayout1006.xml"/><Relationship Id="rId6" Type="http://schemas.openxmlformats.org/officeDocument/2006/relationships/slideLayout" Target="../slideLayouts/slideLayout1011.xml"/><Relationship Id="rId11" Type="http://schemas.openxmlformats.org/officeDocument/2006/relationships/slideLayout" Target="../slideLayouts/slideLayout1016.xml"/><Relationship Id="rId5" Type="http://schemas.openxmlformats.org/officeDocument/2006/relationships/slideLayout" Target="../slideLayouts/slideLayout1010.xml"/><Relationship Id="rId10" Type="http://schemas.openxmlformats.org/officeDocument/2006/relationships/slideLayout" Target="../slideLayouts/slideLayout1015.xml"/><Relationship Id="rId4" Type="http://schemas.openxmlformats.org/officeDocument/2006/relationships/slideLayout" Target="../slideLayouts/slideLayout1009.xml"/><Relationship Id="rId9" Type="http://schemas.openxmlformats.org/officeDocument/2006/relationships/slideLayout" Target="../slideLayouts/slideLayout10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796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4421273-6032-46B0-919C-D1E632149827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5128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5129" name="Picture 32" descr="ppjtitle"/>
          <p:cNvPicPr>
            <a:picLocks noChangeAspect="1" noChangeArrowheads="1"/>
          </p:cNvPicPr>
          <p:nvPr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7175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2813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6" r:id="rId1"/>
    <p:sldLayoutId id="2147485027" r:id="rId2"/>
    <p:sldLayoutId id="2147485028" r:id="rId3"/>
    <p:sldLayoutId id="2147485029" r:id="rId4"/>
    <p:sldLayoutId id="2147485030" r:id="rId5"/>
    <p:sldLayoutId id="2147485031" r:id="rId6"/>
    <p:sldLayoutId id="2147485032" r:id="rId7"/>
    <p:sldLayoutId id="2147485033" r:id="rId8"/>
    <p:sldLayoutId id="2147485034" r:id="rId9"/>
    <p:sldLayoutId id="2147485035" r:id="rId10"/>
    <p:sldLayoutId id="2147485036" r:id="rId11"/>
    <p:sldLayoutId id="214748503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cxnSp>
        <p:nvCxnSpPr>
          <p:cNvPr id="15" name="直線矢印コネクタ 14"/>
          <p:cNvCxnSpPr/>
          <p:nvPr userDrawn="1"/>
        </p:nvCxnSpPr>
        <p:spPr bwMode="auto">
          <a:xfrm flipV="1">
            <a:off x="1074806" y="3429000"/>
            <a:ext cx="8208000" cy="0"/>
          </a:xfrm>
          <a:prstGeom prst="straightConnector1">
            <a:avLst/>
          </a:prstGeom>
          <a:solidFill>
            <a:srgbClr val="0066CC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/>
          </a:ln>
          <a:effectLst/>
        </p:spPr>
      </p:cxnSp>
      <p:cxnSp>
        <p:nvCxnSpPr>
          <p:cNvPr id="16" name="直線矢印コネクタ 15"/>
          <p:cNvCxnSpPr/>
          <p:nvPr userDrawn="1"/>
        </p:nvCxnSpPr>
        <p:spPr bwMode="auto">
          <a:xfrm>
            <a:off x="8697416" y="3226646"/>
            <a:ext cx="0" cy="648000"/>
          </a:xfrm>
          <a:prstGeom prst="straightConnector1">
            <a:avLst/>
          </a:prstGeom>
          <a:solidFill>
            <a:srgbClr val="0066CC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/>
          </a:ln>
          <a:effectLst/>
        </p:spPr>
      </p:cxnSp>
      <p:pic>
        <p:nvPicPr>
          <p:cNvPr id="14" name="Picture 2"/>
          <p:cNvPicPr>
            <a:picLocks noChangeAspect="1" noChangeArrowheads="1"/>
          </p:cNvPicPr>
          <p:nvPr userDrawn="1"/>
        </p:nvPicPr>
        <p:blipFill>
          <a:blip r:embed="rId14" cstate="print"/>
          <a:srcRect r="58657"/>
          <a:stretch>
            <a:fillRect/>
          </a:stretch>
        </p:blipFill>
        <p:spPr bwMode="auto">
          <a:xfrm>
            <a:off x="560512" y="2065705"/>
            <a:ext cx="1800200" cy="18089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922308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1" r:id="rId1"/>
    <p:sldLayoutId id="2147485052" r:id="rId2"/>
    <p:sldLayoutId id="2147485053" r:id="rId3"/>
    <p:sldLayoutId id="2147485054" r:id="rId4"/>
    <p:sldLayoutId id="2147485055" r:id="rId5"/>
    <p:sldLayoutId id="2147485056" r:id="rId6"/>
    <p:sldLayoutId id="2147485057" r:id="rId7"/>
    <p:sldLayoutId id="2147485058" r:id="rId8"/>
    <p:sldLayoutId id="2147485059" r:id="rId9"/>
    <p:sldLayoutId id="2147485060" r:id="rId10"/>
    <p:sldLayoutId id="2147485061" r:id="rId11"/>
    <p:sldLayoutId id="2147485062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charset="-128"/>
              </a:defRPr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2056" name="Picture 12" descr="ppjtitle"/>
          <p:cNvPicPr>
            <a:picLocks noChangeAspect="1" noChangeArrowheads="1"/>
          </p:cNvPicPr>
          <p:nvPr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31138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64" r:id="rId1"/>
    <p:sldLayoutId id="2147485065" r:id="rId2"/>
    <p:sldLayoutId id="2147485066" r:id="rId3"/>
    <p:sldLayoutId id="2147485067" r:id="rId4"/>
    <p:sldLayoutId id="2147485068" r:id="rId5"/>
    <p:sldLayoutId id="2147485069" r:id="rId6"/>
    <p:sldLayoutId id="2147485070" r:id="rId7"/>
    <p:sldLayoutId id="2147485071" r:id="rId8"/>
    <p:sldLayoutId id="2147485072" r:id="rId9"/>
    <p:sldLayoutId id="2147485073" r:id="rId10"/>
    <p:sldLayoutId id="2147485074" r:id="rId11"/>
    <p:sldLayoutId id="2147485075" r:id="rId12"/>
    <p:sldLayoutId id="2147485076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32931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78" r:id="rId1"/>
    <p:sldLayoutId id="2147485079" r:id="rId2"/>
    <p:sldLayoutId id="2147485080" r:id="rId3"/>
    <p:sldLayoutId id="2147485081" r:id="rId4"/>
    <p:sldLayoutId id="2147485082" r:id="rId5"/>
    <p:sldLayoutId id="2147485083" r:id="rId6"/>
    <p:sldLayoutId id="2147485084" r:id="rId7"/>
    <p:sldLayoutId id="2147485085" r:id="rId8"/>
    <p:sldLayoutId id="2147485086" r:id="rId9"/>
    <p:sldLayoutId id="2147485087" r:id="rId10"/>
    <p:sldLayoutId id="214748508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491750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3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483350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77505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07" r:id="rId1"/>
    <p:sldLayoutId id="2147485108" r:id="rId2"/>
    <p:sldLayoutId id="2147485109" r:id="rId3"/>
    <p:sldLayoutId id="2147485110" r:id="rId4"/>
    <p:sldLayoutId id="2147485111" r:id="rId5"/>
    <p:sldLayoutId id="2147485112" r:id="rId6"/>
    <p:sldLayoutId id="2147485113" r:id="rId7"/>
    <p:sldLayoutId id="2147485114" r:id="rId8"/>
    <p:sldLayoutId id="2147485115" r:id="rId9"/>
    <p:sldLayoutId id="2147485116" r:id="rId10"/>
    <p:sldLayoutId id="2147485117" r:id="rId11"/>
    <p:sldLayoutId id="2147485118" r:id="rId12"/>
    <p:sldLayoutId id="2147485119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HGPｺﾞｼｯｸM" pitchFamily="50" charset="-128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HGPｺﾞｼｯｸM" pitchFamily="50" charset="-128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HGPｺﾞｼｯｸM" pitchFamily="50" charset="-128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132159A-D025-4D5D-8CDB-B5F2E9136AC7}" type="slidenum">
              <a:rPr lang="en-US" altLang="ja-JP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>
              <a:solidFill>
                <a:srgbClr val="000000"/>
              </a:solidFill>
              <a:ea typeface="ＭＳ Ｐゴシック" pitchFamily="50" charset="-128"/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  <a:ea typeface="ＭＳ Ｐゴシック" pitchFamily="50" charset="-128"/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  <a:ea typeface="ＭＳ Ｐゴシック" pitchFamily="50" charset="-128"/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  <a:ea typeface="ＭＳ Ｐゴシック" pitchFamily="50" charset="-128"/>
              </a:endParaRPr>
            </a:p>
          </p:txBody>
        </p:sp>
      </p:grpSp>
      <p:sp>
        <p:nvSpPr>
          <p:cNvPr id="1332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321" name="Picture 32" descr="ppjtitle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44584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1" r:id="rId1"/>
    <p:sldLayoutId id="2147485122" r:id="rId2"/>
    <p:sldLayoutId id="2147485123" r:id="rId3"/>
    <p:sldLayoutId id="2147485124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A01BC03-E4E7-46E3-886A-351AFF5D48B9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034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36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877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27" r:id="rId1"/>
    <p:sldLayoutId id="2147485128" r:id="rId2"/>
    <p:sldLayoutId id="2147485129" r:id="rId3"/>
    <p:sldLayoutId id="2147485130" r:id="rId4"/>
    <p:sldLayoutId id="2147485131" r:id="rId5"/>
    <p:sldLayoutId id="2147485132" r:id="rId6"/>
    <p:sldLayoutId id="2147485133" r:id="rId7"/>
    <p:sldLayoutId id="2147485134" r:id="rId8"/>
    <p:sldLayoutId id="2147485135" r:id="rId9"/>
    <p:sldLayoutId id="2147485136" r:id="rId10"/>
    <p:sldLayoutId id="2147485137" r:id="rId11"/>
    <p:sldLayoutId id="2147485138" r:id="rId12"/>
    <p:sldLayoutId id="2147485139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94941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1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483350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58630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43" r:id="rId1"/>
    <p:sldLayoutId id="2147485144" r:id="rId2"/>
    <p:sldLayoutId id="2147485145" r:id="rId3"/>
    <p:sldLayoutId id="2147485146" r:id="rId4"/>
    <p:sldLayoutId id="2147485147" r:id="rId5"/>
    <p:sldLayoutId id="214748514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grpSp>
        <p:nvGrpSpPr>
          <p:cNvPr id="7175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42599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  <p:sldLayoutId id="2147483823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84758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50" r:id="rId1"/>
    <p:sldLayoutId id="2147485151" r:id="rId2"/>
    <p:sldLayoutId id="2147485152" r:id="rId3"/>
    <p:sldLayoutId id="2147485153" r:id="rId4"/>
    <p:sldLayoutId id="2147485154" r:id="rId5"/>
    <p:sldLayoutId id="2147485155" r:id="rId6"/>
    <p:sldLayoutId id="2147485156" r:id="rId7"/>
    <p:sldLayoutId id="2147485157" r:id="rId8"/>
    <p:sldLayoutId id="2147485158" r:id="rId9"/>
    <p:sldLayoutId id="2147485159" r:id="rId10"/>
    <p:sldLayoutId id="214748516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56648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2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81" name="Picture 32" descr="ppjtitle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500" y="0"/>
            <a:ext cx="1206500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285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65" r:id="rId1"/>
    <p:sldLayoutId id="2147485166" r:id="rId2"/>
    <p:sldLayoutId id="2147485167" r:id="rId3"/>
    <p:sldLayoutId id="2147485168" r:id="rId4"/>
    <p:sldLayoutId id="2147485169" r:id="rId5"/>
    <p:sldLayoutId id="2147485170" r:id="rId6"/>
    <p:sldLayoutId id="2147485171" r:id="rId7"/>
    <p:sldLayoutId id="2147485172" r:id="rId8"/>
    <p:sldLayoutId id="2147485173" r:id="rId9"/>
    <p:sldLayoutId id="2147485174" r:id="rId10"/>
    <p:sldLayoutId id="2147485175" r:id="rId11"/>
    <p:sldLayoutId id="2147485176" r:id="rId12"/>
    <p:sldLayoutId id="2147485177" r:id="rId13"/>
    <p:sldLayoutId id="2147485178" r:id="rId14"/>
    <p:sldLayoutId id="2147485179" r:id="rId15"/>
    <p:sldLayoutId id="2147485180" r:id="rId16"/>
    <p:sldLayoutId id="2147485181" r:id="rId17"/>
    <p:sldLayoutId id="2147485182" r:id="rId18"/>
    <p:sldLayoutId id="2147485183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20" cstate="print"/>
          <a:srcRect l="1756" r="81940" b="42691"/>
          <a:stretch>
            <a:fillRect/>
          </a:stretch>
        </p:blipFill>
        <p:spPr bwMode="auto">
          <a:xfrm>
            <a:off x="8697915" y="4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18941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5" r:id="rId1"/>
    <p:sldLayoutId id="2147485186" r:id="rId2"/>
    <p:sldLayoutId id="2147485187" r:id="rId3"/>
    <p:sldLayoutId id="2147485188" r:id="rId4"/>
    <p:sldLayoutId id="2147485189" r:id="rId5"/>
    <p:sldLayoutId id="2147485190" r:id="rId6"/>
    <p:sldLayoutId id="2147485191" r:id="rId7"/>
    <p:sldLayoutId id="2147485192" r:id="rId8"/>
    <p:sldLayoutId id="2147485193" r:id="rId9"/>
    <p:sldLayoutId id="2147485194" r:id="rId10"/>
    <p:sldLayoutId id="2147485195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1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6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4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8" cstate="print"/>
          <a:srcRect l="1756" r="81940" b="42691"/>
          <a:stretch>
            <a:fillRect/>
          </a:stretch>
        </p:blipFill>
        <p:spPr bwMode="auto">
          <a:xfrm>
            <a:off x="8697913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9302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05" r:id="rId1"/>
    <p:sldLayoutId id="2147485206" r:id="rId2"/>
    <p:sldLayoutId id="2147485207" r:id="rId3"/>
    <p:sldLayoutId id="2147485209" r:id="rId4"/>
    <p:sldLayoutId id="2147485210" r:id="rId5"/>
    <p:sldLayoutId id="2147485211" r:id="rId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799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799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799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799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799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181" algn="l" rtl="0" fontAlgn="base">
        <a:spcBef>
          <a:spcPct val="0"/>
        </a:spcBef>
        <a:spcAft>
          <a:spcPct val="0"/>
        </a:spcAft>
        <a:defRPr kumimoji="1" sz="2799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362" algn="l" rtl="0" fontAlgn="base">
        <a:spcBef>
          <a:spcPct val="0"/>
        </a:spcBef>
        <a:spcAft>
          <a:spcPct val="0"/>
        </a:spcAft>
        <a:defRPr kumimoji="1" sz="2799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543" algn="l" rtl="0" fontAlgn="base">
        <a:spcBef>
          <a:spcPct val="0"/>
        </a:spcBef>
        <a:spcAft>
          <a:spcPct val="0"/>
        </a:spcAft>
        <a:defRPr kumimoji="1" sz="2799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723" algn="l" rtl="0" fontAlgn="base">
        <a:spcBef>
          <a:spcPct val="0"/>
        </a:spcBef>
        <a:spcAft>
          <a:spcPct val="0"/>
        </a:spcAft>
        <a:defRPr kumimoji="1" sz="2799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886" indent="-342886" algn="l" rtl="0" eaLnBrk="0" fontAlgn="base" hangingPunct="0">
        <a:spcBef>
          <a:spcPct val="20000"/>
        </a:spcBef>
        <a:spcAft>
          <a:spcPct val="0"/>
        </a:spcAft>
        <a:buChar char="•"/>
        <a:defRPr kumimoji="1" sz="3199">
          <a:solidFill>
            <a:schemeClr val="tx1"/>
          </a:solidFill>
          <a:latin typeface="+mn-lt"/>
          <a:ea typeface="+mn-ea"/>
          <a:cs typeface="+mn-cs"/>
        </a:defRPr>
      </a:lvl1pPr>
      <a:lvl2pPr marL="742918" indent="-285738" algn="l" rtl="0" eaLnBrk="0" fontAlgn="base" hangingPunct="0">
        <a:spcBef>
          <a:spcPct val="20000"/>
        </a:spcBef>
        <a:spcAft>
          <a:spcPct val="0"/>
        </a:spcAft>
        <a:buChar char="–"/>
        <a:defRPr kumimoji="1" sz="2799">
          <a:solidFill>
            <a:schemeClr val="tx1"/>
          </a:solidFill>
          <a:latin typeface="+mn-lt"/>
          <a:ea typeface="+mn-ea"/>
        </a:defRPr>
      </a:lvl2pPr>
      <a:lvl3pPr marL="1142952" indent="-228591" algn="l" rtl="0" eaLnBrk="0" fontAlgn="base" hangingPunct="0">
        <a:spcBef>
          <a:spcPct val="20000"/>
        </a:spcBef>
        <a:spcAft>
          <a:spcPct val="0"/>
        </a:spcAft>
        <a:buChar char="•"/>
        <a:defRPr kumimoji="1" sz="2401">
          <a:solidFill>
            <a:schemeClr val="tx1"/>
          </a:solidFill>
          <a:latin typeface="+mn-lt"/>
          <a:ea typeface="+mn-ea"/>
        </a:defRPr>
      </a:lvl3pPr>
      <a:lvl4pPr marL="1600132" indent="-228591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314" indent="-228591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495" indent="-228591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675" indent="-228591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8857" indent="-228591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037" indent="-228591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3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2" algn="l" defTabSz="9143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3" algn="l" defTabSz="9143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5" algn="l" defTabSz="9143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6" algn="l" defTabSz="914362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093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13" r:id="rId1"/>
    <p:sldLayoutId id="2147485214" r:id="rId2"/>
    <p:sldLayoutId id="2147485215" r:id="rId3"/>
    <p:sldLayoutId id="2147485216" r:id="rId4"/>
    <p:sldLayoutId id="2147485217" r:id="rId5"/>
    <p:sldLayoutId id="2147485218" r:id="rId6"/>
    <p:sldLayoutId id="2147485219" r:id="rId7"/>
    <p:sldLayoutId id="2147485220" r:id="rId8"/>
    <p:sldLayoutId id="2147485221" r:id="rId9"/>
    <p:sldLayoutId id="2147485222" r:id="rId10"/>
    <p:sldLayoutId id="2147485223" r:id="rId11"/>
    <p:sldLayoutId id="2147485224" r:id="rId12"/>
    <p:sldLayoutId id="2147485225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2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21" cstate="print"/>
          <a:srcRect l="1756" r="81940" b="42691"/>
          <a:stretch>
            <a:fillRect/>
          </a:stretch>
        </p:blipFill>
        <p:spPr bwMode="auto">
          <a:xfrm>
            <a:off x="8697916" y="6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85025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27" r:id="rId1"/>
    <p:sldLayoutId id="2147485228" r:id="rId2"/>
    <p:sldLayoutId id="2147485229" r:id="rId3"/>
    <p:sldLayoutId id="2147485230" r:id="rId4"/>
    <p:sldLayoutId id="2147485231" r:id="rId5"/>
    <p:sldLayoutId id="2147485232" r:id="rId6"/>
    <p:sldLayoutId id="2147485233" r:id="rId7"/>
    <p:sldLayoutId id="2147485234" r:id="rId8"/>
    <p:sldLayoutId id="2147485235" r:id="rId9"/>
    <p:sldLayoutId id="2147485236" r:id="rId10"/>
    <p:sldLayoutId id="2147485237" r:id="rId11"/>
    <p:sldLayoutId id="2147485238" r:id="rId12"/>
    <p:sldLayoutId id="2147485239" r:id="rId13"/>
    <p:sldLayoutId id="2147485240" r:id="rId14"/>
    <p:sldLayoutId id="2147485241" r:id="rId15"/>
    <p:sldLayoutId id="2147485242" r:id="rId16"/>
    <p:sldLayoutId id="2147485243" r:id="rId17"/>
    <p:sldLayoutId id="2147485244" r:id="rId18"/>
    <p:sldLayoutId id="2147485245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16" cstate="print"/>
          <a:srcRect l="1756" r="81940" b="42691"/>
          <a:stretch>
            <a:fillRect/>
          </a:stretch>
        </p:blipFill>
        <p:spPr bwMode="auto">
          <a:xfrm>
            <a:off x="8697915" y="4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16298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47" r:id="rId1"/>
    <p:sldLayoutId id="2147485248" r:id="rId2"/>
    <p:sldLayoutId id="2147485249" r:id="rId3"/>
    <p:sldLayoutId id="2147485250" r:id="rId4"/>
    <p:sldLayoutId id="2147485251" r:id="rId5"/>
    <p:sldLayoutId id="2147485252" r:id="rId6"/>
    <p:sldLayoutId id="2147485253" r:id="rId7"/>
    <p:sldLayoutId id="2147485254" r:id="rId8"/>
    <p:sldLayoutId id="2147485255" r:id="rId9"/>
    <p:sldLayoutId id="2147485256" r:id="rId10"/>
    <p:sldLayoutId id="2147485257" r:id="rId11"/>
    <p:sldLayoutId id="2147485258" r:id="rId12"/>
    <p:sldLayoutId id="2147485259" r:id="rId13"/>
    <p:sldLayoutId id="2147485260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2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21" cstate="print"/>
          <a:srcRect l="1756" r="81940" b="42691"/>
          <a:stretch>
            <a:fillRect/>
          </a:stretch>
        </p:blipFill>
        <p:spPr bwMode="auto">
          <a:xfrm>
            <a:off x="8697916" y="6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09110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62" r:id="rId1"/>
    <p:sldLayoutId id="2147485263" r:id="rId2"/>
    <p:sldLayoutId id="2147485264" r:id="rId3"/>
    <p:sldLayoutId id="2147485265" r:id="rId4"/>
    <p:sldLayoutId id="2147485266" r:id="rId5"/>
    <p:sldLayoutId id="2147485267" r:id="rId6"/>
    <p:sldLayoutId id="2147485268" r:id="rId7"/>
    <p:sldLayoutId id="2147485269" r:id="rId8"/>
    <p:sldLayoutId id="2147485270" r:id="rId9"/>
    <p:sldLayoutId id="2147485271" r:id="rId10"/>
    <p:sldLayoutId id="2147485272" r:id="rId11"/>
    <p:sldLayoutId id="2147485273" r:id="rId12"/>
    <p:sldLayoutId id="2147485274" r:id="rId13"/>
    <p:sldLayoutId id="2147485275" r:id="rId14"/>
    <p:sldLayoutId id="2147485276" r:id="rId15"/>
    <p:sldLayoutId id="2147485277" r:id="rId16"/>
    <p:sldLayoutId id="2147485278" r:id="rId17"/>
    <p:sldLayoutId id="2147485279" r:id="rId18"/>
    <p:sldLayoutId id="2147485280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941115-D62C-4B4F-813F-A093971866FD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831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82" r:id="rId1"/>
    <p:sldLayoutId id="2147485283" r:id="rId2"/>
    <p:sldLayoutId id="2147485284" r:id="rId3"/>
    <p:sldLayoutId id="2147485285" r:id="rId4"/>
    <p:sldLayoutId id="2147485286" r:id="rId5"/>
    <p:sldLayoutId id="2147485287" r:id="rId6"/>
    <p:sldLayoutId id="2147485288" r:id="rId7"/>
    <p:sldLayoutId id="2147485289" r:id="rId8"/>
    <p:sldLayoutId id="2147485290" r:id="rId9"/>
    <p:sldLayoutId id="2147485291" r:id="rId10"/>
    <p:sldLayoutId id="214748529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grpSp>
        <p:nvGrpSpPr>
          <p:cNvPr id="7175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88233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36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82403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294" r:id="rId1"/>
    <p:sldLayoutId id="2147485295" r:id="rId2"/>
    <p:sldLayoutId id="2147485296" r:id="rId3"/>
    <p:sldLayoutId id="2147485297" r:id="rId4"/>
    <p:sldLayoutId id="2147485298" r:id="rId5"/>
    <p:sldLayoutId id="2147485299" r:id="rId6"/>
    <p:sldLayoutId id="2147485300" r:id="rId7"/>
    <p:sldLayoutId id="2147485301" r:id="rId8"/>
    <p:sldLayoutId id="2147485302" r:id="rId9"/>
    <p:sldLayoutId id="2147485303" r:id="rId10"/>
    <p:sldLayoutId id="2147485304" r:id="rId11"/>
    <p:sldLayoutId id="2147485305" r:id="rId12"/>
    <p:sldLayoutId id="2147485306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2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21" cstate="print"/>
          <a:srcRect l="1756" r="81940" b="42691"/>
          <a:stretch>
            <a:fillRect/>
          </a:stretch>
        </p:blipFill>
        <p:spPr bwMode="auto">
          <a:xfrm>
            <a:off x="8697916" y="6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92852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08" r:id="rId1"/>
    <p:sldLayoutId id="2147485309" r:id="rId2"/>
    <p:sldLayoutId id="2147485310" r:id="rId3"/>
    <p:sldLayoutId id="2147485311" r:id="rId4"/>
    <p:sldLayoutId id="2147485312" r:id="rId5"/>
    <p:sldLayoutId id="2147485313" r:id="rId6"/>
    <p:sldLayoutId id="2147485314" r:id="rId7"/>
    <p:sldLayoutId id="2147485315" r:id="rId8"/>
    <p:sldLayoutId id="2147485316" r:id="rId9"/>
    <p:sldLayoutId id="2147485317" r:id="rId10"/>
    <p:sldLayoutId id="2147485318" r:id="rId11"/>
    <p:sldLayoutId id="2147485319" r:id="rId12"/>
    <p:sldLayoutId id="2147485320" r:id="rId13"/>
    <p:sldLayoutId id="2147485321" r:id="rId14"/>
    <p:sldLayoutId id="2147485322" r:id="rId15"/>
    <p:sldLayoutId id="2147485323" r:id="rId16"/>
    <p:sldLayoutId id="2147485324" r:id="rId17"/>
    <p:sldLayoutId id="2147485325" r:id="rId18"/>
    <p:sldLayoutId id="2147485326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2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21" cstate="print"/>
          <a:srcRect l="1756" r="81940" b="42691"/>
          <a:stretch>
            <a:fillRect/>
          </a:stretch>
        </p:blipFill>
        <p:spPr bwMode="auto">
          <a:xfrm>
            <a:off x="8697916" y="6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49606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28" r:id="rId1"/>
    <p:sldLayoutId id="2147485329" r:id="rId2"/>
    <p:sldLayoutId id="2147485330" r:id="rId3"/>
    <p:sldLayoutId id="2147485331" r:id="rId4"/>
    <p:sldLayoutId id="2147485332" r:id="rId5"/>
    <p:sldLayoutId id="2147485333" r:id="rId6"/>
    <p:sldLayoutId id="2147485334" r:id="rId7"/>
    <p:sldLayoutId id="2147485335" r:id="rId8"/>
    <p:sldLayoutId id="2147485336" r:id="rId9"/>
    <p:sldLayoutId id="2147485337" r:id="rId10"/>
    <p:sldLayoutId id="2147485338" r:id="rId11"/>
    <p:sldLayoutId id="2147485339" r:id="rId12"/>
    <p:sldLayoutId id="2147485340" r:id="rId13"/>
    <p:sldLayoutId id="2147485341" r:id="rId14"/>
    <p:sldLayoutId id="2147485342" r:id="rId15"/>
    <p:sldLayoutId id="2147485343" r:id="rId16"/>
    <p:sldLayoutId id="2147485344" r:id="rId17"/>
    <p:sldLayoutId id="2147485345" r:id="rId18"/>
    <p:sldLayoutId id="2147485346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81" name="Picture 32" descr="ppjtitle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500" y="0"/>
            <a:ext cx="1206500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21" cstate="print"/>
          <a:srcRect l="1756" r="81940" b="42691"/>
          <a:stretch>
            <a:fillRect/>
          </a:stretch>
        </p:blipFill>
        <p:spPr bwMode="auto">
          <a:xfrm>
            <a:off x="8697915" y="4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033969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48" r:id="rId1"/>
    <p:sldLayoutId id="2147485349" r:id="rId2"/>
    <p:sldLayoutId id="2147485350" r:id="rId3"/>
    <p:sldLayoutId id="2147485351" r:id="rId4"/>
    <p:sldLayoutId id="2147485352" r:id="rId5"/>
    <p:sldLayoutId id="2147485353" r:id="rId6"/>
    <p:sldLayoutId id="2147485354" r:id="rId7"/>
    <p:sldLayoutId id="2147485355" r:id="rId8"/>
    <p:sldLayoutId id="2147485356" r:id="rId9"/>
    <p:sldLayoutId id="2147485357" r:id="rId10"/>
    <p:sldLayoutId id="2147485358" r:id="rId11"/>
    <p:sldLayoutId id="2147485359" r:id="rId12"/>
    <p:sldLayoutId id="2147485360" r:id="rId13"/>
    <p:sldLayoutId id="2147485361" r:id="rId14"/>
    <p:sldLayoutId id="2147485362" r:id="rId15"/>
    <p:sldLayoutId id="2147485363" r:id="rId16"/>
    <p:sldLayoutId id="2147485364" r:id="rId17"/>
    <p:sldLayoutId id="2147485365" r:id="rId1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21" cstate="print"/>
          <a:srcRect l="1756" r="81940" b="42691"/>
          <a:stretch>
            <a:fillRect/>
          </a:stretch>
        </p:blipFill>
        <p:spPr bwMode="auto">
          <a:xfrm>
            <a:off x="8697915" y="4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23894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67" r:id="rId1"/>
    <p:sldLayoutId id="2147485368" r:id="rId2"/>
    <p:sldLayoutId id="2147485369" r:id="rId3"/>
    <p:sldLayoutId id="2147485370" r:id="rId4"/>
    <p:sldLayoutId id="2147485371" r:id="rId5"/>
    <p:sldLayoutId id="2147485372" r:id="rId6"/>
    <p:sldLayoutId id="2147485373" r:id="rId7"/>
    <p:sldLayoutId id="2147485374" r:id="rId8"/>
    <p:sldLayoutId id="2147485375" r:id="rId9"/>
    <p:sldLayoutId id="2147485376" r:id="rId10"/>
    <p:sldLayoutId id="2147485377" r:id="rId11"/>
    <p:sldLayoutId id="2147485378" r:id="rId12"/>
    <p:sldLayoutId id="2147485379" r:id="rId13"/>
    <p:sldLayoutId id="2147485380" r:id="rId14"/>
    <p:sldLayoutId id="2147485381" r:id="rId15"/>
    <p:sldLayoutId id="2147485382" r:id="rId16"/>
    <p:sldLayoutId id="2147485383" r:id="rId17"/>
    <p:sldLayoutId id="2147485384" r:id="rId18"/>
    <p:sldLayoutId id="2147485385" r:id="rId1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81" name="Picture 32" descr="ppjtitle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500" y="0"/>
            <a:ext cx="1206500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21" cstate="print"/>
          <a:srcRect l="1756" r="81940" b="42691"/>
          <a:stretch>
            <a:fillRect/>
          </a:stretch>
        </p:blipFill>
        <p:spPr bwMode="auto">
          <a:xfrm>
            <a:off x="8697915" y="4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44733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7" r:id="rId1"/>
    <p:sldLayoutId id="2147485388" r:id="rId2"/>
    <p:sldLayoutId id="2147485389" r:id="rId3"/>
    <p:sldLayoutId id="2147485390" r:id="rId4"/>
    <p:sldLayoutId id="2147485391" r:id="rId5"/>
    <p:sldLayoutId id="2147485392" r:id="rId6"/>
    <p:sldLayoutId id="2147485393" r:id="rId7"/>
    <p:sldLayoutId id="2147485394" r:id="rId8"/>
    <p:sldLayoutId id="2147485395" r:id="rId9"/>
    <p:sldLayoutId id="2147485396" r:id="rId10"/>
    <p:sldLayoutId id="2147485397" r:id="rId11"/>
    <p:sldLayoutId id="2147485398" r:id="rId12"/>
    <p:sldLayoutId id="2147485399" r:id="rId13"/>
    <p:sldLayoutId id="2147485400" r:id="rId14"/>
    <p:sldLayoutId id="2147485401" r:id="rId15"/>
    <p:sldLayoutId id="2147485402" r:id="rId16"/>
    <p:sldLayoutId id="2147485403" r:id="rId17"/>
    <p:sldLayoutId id="2147485404" r:id="rId18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16" cstate="print"/>
          <a:srcRect l="1756" r="81940" b="42691"/>
          <a:stretch>
            <a:fillRect/>
          </a:stretch>
        </p:blipFill>
        <p:spPr bwMode="auto">
          <a:xfrm>
            <a:off x="8697915" y="4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14320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06" r:id="rId1"/>
    <p:sldLayoutId id="2147485407" r:id="rId2"/>
    <p:sldLayoutId id="2147485408" r:id="rId3"/>
    <p:sldLayoutId id="2147485409" r:id="rId4"/>
    <p:sldLayoutId id="2147485410" r:id="rId5"/>
    <p:sldLayoutId id="2147485411" r:id="rId6"/>
    <p:sldLayoutId id="2147485412" r:id="rId7"/>
    <p:sldLayoutId id="2147485413" r:id="rId8"/>
    <p:sldLayoutId id="2147485414" r:id="rId9"/>
    <p:sldLayoutId id="2147485415" r:id="rId10"/>
    <p:sldLayoutId id="2147485416" r:id="rId11"/>
    <p:sldLayoutId id="2147485417" r:id="rId12"/>
    <p:sldLayoutId id="2147485418" r:id="rId13"/>
    <p:sldLayoutId id="2147485419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grpSp>
        <p:nvGrpSpPr>
          <p:cNvPr id="7175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93178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grpSp>
        <p:nvGrpSpPr>
          <p:cNvPr id="7175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85173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013914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75" r:id="rId12"/>
    <p:sldLayoutId id="2147483876" r:id="rId13"/>
    <p:sldLayoutId id="2147483877" r:id="rId14"/>
    <p:sldLayoutId id="2147483878" r:id="rId15"/>
    <p:sldLayoutId id="2147483879" r:id="rId16"/>
    <p:sldLayoutId id="2147483880" r:id="rId17"/>
    <p:sldLayoutId id="2147483881" r:id="rId18"/>
    <p:sldLayoutId id="2147483882" r:id="rId19"/>
    <p:sldLayoutId id="2147483883" r:id="rId20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D9938D-92BF-43E2-B179-ED362840A416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032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033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034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3080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81" name="Picture 12" descr="ppjtitle"/>
          <p:cNvPicPr>
            <a:picLocks noChangeAspect="1" noChangeArrowheads="1"/>
          </p:cNvPicPr>
          <p:nvPr userDrawn="1"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34199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FB75A5-A45D-4036-9C9B-40EA51E7071B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1030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2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034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3080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81" name="Picture 12" descr="ppjtitle"/>
          <p:cNvPicPr>
            <a:picLocks noChangeAspect="1" noChangeArrowheads="1"/>
          </p:cNvPicPr>
          <p:nvPr userDrawn="1"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41597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FB75A5-A45D-4036-9C9B-40EA51E7071B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1030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2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034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3080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81" name="Picture 12" descr="ppjtitle"/>
          <p:cNvPicPr>
            <a:picLocks noChangeAspect="1" noChangeArrowheads="1"/>
          </p:cNvPicPr>
          <p:nvPr userDrawn="1"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00301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16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86729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  <p:sldLayoutId id="2147483940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24673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2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CD644B2-A26B-4035-A035-CD583B49C01C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30747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3074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752" name="Picture 32" descr="ppjtitle"/>
          <p:cNvPicPr>
            <a:picLocks noChangeAspect="1" noChangeArrowheads="1"/>
          </p:cNvPicPr>
          <p:nvPr userDrawn="1"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4654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  <p:sldLayoutId id="2147483950" r:id="rId5"/>
    <p:sldLayoutId id="2147483951" r:id="rId6"/>
    <p:sldLayoutId id="2147483952" r:id="rId7"/>
    <p:sldLayoutId id="2147483953" r:id="rId8"/>
    <p:sldLayoutId id="2147483954" r:id="rId9"/>
    <p:sldLayoutId id="2147483955" r:id="rId10"/>
    <p:sldLayoutId id="2147483956" r:id="rId1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FB75A5-A45D-4036-9C9B-40EA51E7071B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1030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2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034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3080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81" name="Picture 12" descr="ppjtitle"/>
          <p:cNvPicPr>
            <a:picLocks noChangeAspect="1" noChangeArrowheads="1"/>
          </p:cNvPicPr>
          <p:nvPr userDrawn="1"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71031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3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97915" y="3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61058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  <p:sldLayoutId id="2147483982" r:id="rId11"/>
    <p:sldLayoutId id="2147483983" r:id="rId12"/>
    <p:sldLayoutId id="2147483984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197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395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592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789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898" indent="-342898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46" indent="-285749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2993" indent="-228599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191" indent="-228599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388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585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783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8980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177" indent="-228599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4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9882459-8115-48E3-950C-27F75043E14D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33798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grpSp>
        <p:nvGrpSpPr>
          <p:cNvPr id="33799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380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3380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3380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380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3801" name="Picture 32" descr="ppjtitle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05263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547516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482503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0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78522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2" r:id="rId1"/>
    <p:sldLayoutId id="2147484003" r:id="rId2"/>
    <p:sldLayoutId id="2147484004" r:id="rId3"/>
    <p:sldLayoutId id="2147484005" r:id="rId4"/>
    <p:sldLayoutId id="2147484006" r:id="rId5"/>
    <p:sldLayoutId id="2147484007" r:id="rId6"/>
    <p:sldLayoutId id="2147484008" r:id="rId7"/>
    <p:sldLayoutId id="2147484009" r:id="rId8"/>
    <p:sldLayoutId id="2147484010" r:id="rId9"/>
    <p:sldLayoutId id="2147484011" r:id="rId10"/>
    <p:sldLayoutId id="214748401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A444920-3925-4B92-9803-1C898EEDD859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11270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</a:endParaRPr>
          </a:p>
        </p:txBody>
      </p:sp>
      <p:grpSp>
        <p:nvGrpSpPr>
          <p:cNvPr id="1127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1274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275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1276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127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1273" name="Picture 32" descr="ppjtitle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8227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4" r:id="rId1"/>
    <p:sldLayoutId id="2147484015" r:id="rId2"/>
    <p:sldLayoutId id="2147484016" r:id="rId3"/>
    <p:sldLayoutId id="2147484017" r:id="rId4"/>
    <p:sldLayoutId id="2147484018" r:id="rId5"/>
    <p:sldLayoutId id="2147484019" r:id="rId6"/>
    <p:sldLayoutId id="2147484020" r:id="rId7"/>
    <p:sldLayoutId id="2147484021" r:id="rId8"/>
    <p:sldLayoutId id="2147484022" r:id="rId9"/>
    <p:sldLayoutId id="2147484023" r:id="rId10"/>
    <p:sldLayoutId id="2147484024" r:id="rId11"/>
    <p:sldLayoutId id="2147484025" r:id="rId12"/>
    <p:sldLayoutId id="2147484026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18FB525-5862-4C76-A5A5-F58210B3F720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2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30747" name="Group 27"/>
          <p:cNvGrpSpPr>
            <a:grpSpLocks/>
          </p:cNvGrpSpPr>
          <p:nvPr userDrawn="1"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3074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752" name="Picture 32" descr="ppjtitle"/>
          <p:cNvPicPr>
            <a:picLocks noChangeAspect="1" noChangeArrowheads="1"/>
          </p:cNvPicPr>
          <p:nvPr userDrawn="1"/>
        </p:nvPicPr>
        <p:blipFill>
          <a:blip r:embed="rId2" cstate="print"/>
          <a:srcRect l="1756" r="81940" b="42691"/>
          <a:stretch>
            <a:fillRect/>
          </a:stretch>
        </p:blipFill>
        <p:spPr bwMode="auto">
          <a:xfrm>
            <a:off x="8697914" y="2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1914956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0E5B27F-C93A-4AD1-908C-AC92C9F1E221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04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4105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5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57FA73D-4A5C-4119-B390-D37C6C737876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14342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>
              <a:solidFill>
                <a:srgbClr val="000000"/>
              </a:solidFill>
            </a:endParaRP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4344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14345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</a:endParaRPr>
            </a:p>
          </p:txBody>
        </p:sp>
        <p:sp>
          <p:nvSpPr>
            <p:cNvPr id="14346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12" descr="ppjtitle"/>
          <p:cNvPicPr>
            <a:picLocks noChangeAspect="1" noChangeArrowheads="1"/>
          </p:cNvPicPr>
          <p:nvPr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9500" y="0"/>
            <a:ext cx="1206500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74155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0" r:id="rId1"/>
    <p:sldLayoutId id="2147484031" r:id="rId2"/>
    <p:sldLayoutId id="2147484032" r:id="rId3"/>
    <p:sldLayoutId id="2147484033" r:id="rId4"/>
    <p:sldLayoutId id="2147484034" r:id="rId5"/>
    <p:sldLayoutId id="2147484035" r:id="rId6"/>
    <p:sldLayoutId id="2147484036" r:id="rId7"/>
    <p:sldLayoutId id="2147484037" r:id="rId8"/>
    <p:sldLayoutId id="2147484038" r:id="rId9"/>
    <p:sldLayoutId id="2147484039" r:id="rId10"/>
    <p:sldLayoutId id="214748404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4421273-6032-46B0-919C-D1E632149827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5128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5129" name="Picture 32" descr="ppjtitle"/>
          <p:cNvPicPr>
            <a:picLocks noChangeAspect="1" noChangeArrowheads="1"/>
          </p:cNvPicPr>
          <p:nvPr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43177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4BCA8DE-3BAC-4FFF-9266-D8F4964C8E98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034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6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2435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  <p:sldLayoutId id="2147484065" r:id="rId6"/>
    <p:sldLayoutId id="2147484066" r:id="rId7"/>
    <p:sldLayoutId id="2147484067" r:id="rId8"/>
    <p:sldLayoutId id="2147484068" r:id="rId9"/>
    <p:sldLayoutId id="2147484069" r:id="rId10"/>
    <p:sldLayoutId id="2147484070" r:id="rId11"/>
    <p:sldLayoutId id="2147484071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prstClr val="black"/>
                </a:solidFill>
                <a:latin typeface="Arial" charset="0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3EF4BB6-1DD7-47BB-9102-E00A252E77EE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3078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  <a:ea typeface="HGP創英角ｺﾞｼｯｸUB" panose="020B0900000000000000" pitchFamily="50" charset="-128"/>
            </a:endParaRPr>
          </a:p>
        </p:txBody>
      </p:sp>
      <p:grpSp>
        <p:nvGrpSpPr>
          <p:cNvPr id="3079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82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3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  <p:sp>
          <p:nvSpPr>
            <p:cNvPr id="3084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  <a:ea typeface="HGP創英角ｺﾞｼｯｸUB" panose="020B0900000000000000" pitchFamily="50" charset="-128"/>
              </a:endParaRPr>
            </a:p>
          </p:txBody>
        </p:sp>
      </p:grpSp>
      <p:sp>
        <p:nvSpPr>
          <p:cNvPr id="308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81" name="Picture 32" descr="ppjtitle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9500" y="0"/>
            <a:ext cx="1206500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3196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92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92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92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0E5B27F-C93A-4AD1-908C-AC92C9F1E221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2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800">
              <a:solidFill>
                <a:srgbClr val="000000"/>
              </a:solidFill>
            </a:endParaRPr>
          </a:p>
        </p:txBody>
      </p:sp>
      <p:grpSp>
        <p:nvGrpSpPr>
          <p:cNvPr id="4103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4104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4105" name="Picture 32" descr="ppjtitle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697914" y="2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55748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22041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844083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266124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688165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16531" indent="-316531" algn="l" rtl="0" eaLnBrk="0" fontAlgn="base" hangingPunct="0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685817" indent="-263776" algn="l" rtl="0" eaLnBrk="0" fontAlgn="base" hangingPunct="0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ＭＳ Ｐゴシック" pitchFamily="50" charset="-128"/>
        </a:defRPr>
      </a:lvl2pPr>
      <a:lvl3pPr marL="1055103" indent="-211021" algn="l" rtl="0" eaLnBrk="0" fontAlgn="base" hangingPunct="0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ＭＳ Ｐゴシック" pitchFamily="50" charset="-128"/>
        </a:defRPr>
      </a:lvl3pPr>
      <a:lvl4pPr marL="1477145" indent="-211021" algn="l" rtl="0" eaLnBrk="0" fontAlgn="base" hangingPunct="0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ＭＳ Ｐゴシック" pitchFamily="50" charset="-128"/>
        </a:defRPr>
      </a:lvl4pPr>
      <a:lvl5pPr marL="1899186" indent="-211021" algn="l" rtl="0" eaLnBrk="0" fontAlgn="base" hangingPunct="0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ＭＳ Ｐゴシック" pitchFamily="50" charset="-128"/>
        </a:defRPr>
      </a:lvl5pPr>
      <a:lvl6pPr marL="2321227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3269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5310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7351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92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92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92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93E2E7F-DEFC-4B02-9A35-2F59391B3C00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2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 sz="1800">
              <a:solidFill>
                <a:srgbClr val="000000"/>
              </a:solidFill>
            </a:endParaRPr>
          </a:p>
        </p:txBody>
      </p:sp>
      <p:grpSp>
        <p:nvGrpSpPr>
          <p:cNvPr id="30747" name="Group 27"/>
          <p:cNvGrpSpPr>
            <a:grpSpLocks/>
          </p:cNvGrpSpPr>
          <p:nvPr userDrawn="1"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 sz="1800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3074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752" name="Picture 32" descr="ppjtitle"/>
          <p:cNvPicPr>
            <a:picLocks noChangeAspect="1" noChangeArrowheads="1"/>
          </p:cNvPicPr>
          <p:nvPr userDrawn="1"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4" y="2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45141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0" r:id="rId1"/>
    <p:sldLayoutId id="2147484101" r:id="rId2"/>
    <p:sldLayoutId id="2147484102" r:id="rId3"/>
    <p:sldLayoutId id="2147484103" r:id="rId4"/>
    <p:sldLayoutId id="2147484104" r:id="rId5"/>
    <p:sldLayoutId id="2147484105" r:id="rId6"/>
    <p:sldLayoutId id="2147484106" r:id="rId7"/>
    <p:sldLayoutId id="2147484107" r:id="rId8"/>
    <p:sldLayoutId id="2147484108" r:id="rId9"/>
    <p:sldLayoutId id="2147484109" r:id="rId10"/>
    <p:sldLayoutId id="2147484110" r:id="rId11"/>
    <p:sldLayoutId id="2147484111" r:id="rId12"/>
    <p:sldLayoutId id="2147484112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22041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844083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266124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688165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16531" indent="-316531" algn="l" rtl="0" fontAlgn="base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fontAlgn="base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+mn-ea"/>
        </a:defRPr>
      </a:lvl2pPr>
      <a:lvl3pPr marL="1055103" indent="-211021" algn="l" rtl="0" fontAlgn="base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7145" indent="-211021" algn="l" rtl="0" fontAlgn="base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9186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1227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3269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5310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7351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charset="-128"/>
              </a:defRPr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2056" name="Picture 12" descr="ppjtitle"/>
          <p:cNvPicPr>
            <a:picLocks noChangeAspect="1" noChangeArrowheads="1"/>
          </p:cNvPicPr>
          <p:nvPr/>
        </p:nvPicPr>
        <p:blipFill>
          <a:blip r:embed="rId16" cstate="print"/>
          <a:srcRect l="1756" r="81940" b="42691"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62852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  <p:sldLayoutId id="2147484123" r:id="rId10"/>
    <p:sldLayoutId id="2147484124" r:id="rId11"/>
    <p:sldLayoutId id="2147484125" r:id="rId12"/>
    <p:sldLayoutId id="2147484126" r:id="rId13"/>
    <p:sldLayoutId id="2147484127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charset="-128"/>
              </a:defRPr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2056" name="Picture 12" descr="ppjtitle"/>
          <p:cNvPicPr>
            <a:picLocks noChangeAspect="1" noChangeArrowheads="1"/>
          </p:cNvPicPr>
          <p:nvPr/>
        </p:nvPicPr>
        <p:blipFill>
          <a:blip r:embed="rId16" cstate="print"/>
          <a:srcRect l="1756" r="81940" b="42691"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164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9" r:id="rId1"/>
    <p:sldLayoutId id="2147484130" r:id="rId2"/>
    <p:sldLayoutId id="2147484131" r:id="rId3"/>
    <p:sldLayoutId id="2147484132" r:id="rId4"/>
    <p:sldLayoutId id="2147484133" r:id="rId5"/>
    <p:sldLayoutId id="2147484134" r:id="rId6"/>
    <p:sldLayoutId id="2147484135" r:id="rId7"/>
    <p:sldLayoutId id="2147484136" r:id="rId8"/>
    <p:sldLayoutId id="2147484137" r:id="rId9"/>
    <p:sldLayoutId id="2147484138" r:id="rId10"/>
    <p:sldLayoutId id="2147484139" r:id="rId11"/>
    <p:sldLayoutId id="2147484140" r:id="rId12"/>
    <p:sldLayoutId id="2147484141" r:id="rId13"/>
    <p:sldLayoutId id="2147484142" r:id="rId1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 dirty="0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202A773-A3EC-4768-99CA-18F0B462167C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dirty="0"/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dirty="0" smtClean="0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034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036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dirty="0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14887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4" r:id="rId1"/>
    <p:sldLayoutId id="2147484145" r:id="rId2"/>
    <p:sldLayoutId id="2147484146" r:id="rId3"/>
    <p:sldLayoutId id="2147484147" r:id="rId4"/>
    <p:sldLayoutId id="2147484148" r:id="rId5"/>
    <p:sldLayoutId id="2147484149" r:id="rId6"/>
    <p:sldLayoutId id="2147484150" r:id="rId7"/>
    <p:sldLayoutId id="2147484151" r:id="rId8"/>
    <p:sldLayoutId id="2147484152" r:id="rId9"/>
    <p:sldLayoutId id="2147484153" r:id="rId10"/>
    <p:sldLayoutId id="2147484154" r:id="rId11"/>
    <p:sldLayoutId id="2147484155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4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08697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9" r:id="rId1"/>
    <p:sldLayoutId id="2147484160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5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7008B80-D360-49A2-A8AC-9D93832127B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2056" name="Picture 12" descr="ppjtitle"/>
          <p:cNvPicPr>
            <a:picLocks noChangeAspect="1" noChangeArrowheads="1"/>
          </p:cNvPicPr>
          <p:nvPr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57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4761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  <p:sldLayoutId id="2147484166" r:id="rId4"/>
    <p:sldLayoutId id="2147484167" r:id="rId5"/>
    <p:sldLayoutId id="2147484168" r:id="rId6"/>
    <p:sldLayoutId id="2147484169" r:id="rId7"/>
    <p:sldLayoutId id="2147484170" r:id="rId8"/>
    <p:sldLayoutId id="2147484171" r:id="rId9"/>
    <p:sldLayoutId id="2147484172" r:id="rId10"/>
    <p:sldLayoutId id="2147484173" r:id="rId11"/>
    <p:sldLayoutId id="2147484174" r:id="rId12"/>
    <p:sldLayoutId id="2147484175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8DA2F96-2B0C-4037-86A6-570D11F5F5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0247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248" name="Picture 12" descr="ppjtitle"/>
          <p:cNvPicPr>
            <a:picLocks noChangeAspect="1" noChangeArrowheads="1"/>
          </p:cNvPicPr>
          <p:nvPr/>
        </p:nvPicPr>
        <p:blipFill>
          <a:blip r:embed="rId14" cstate="print"/>
          <a:srcRect l="1756" r="81940" b="42691"/>
          <a:stretch>
            <a:fillRect/>
          </a:stretch>
        </p:blipFill>
        <p:spPr bwMode="auto">
          <a:xfrm>
            <a:off x="8697915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249" name="Group 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3768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7" r:id="rId1"/>
    <p:sldLayoutId id="2147484178" r:id="rId2"/>
    <p:sldLayoutId id="2147484179" r:id="rId3"/>
    <p:sldLayoutId id="2147484180" r:id="rId4"/>
    <p:sldLayoutId id="2147484181" r:id="rId5"/>
    <p:sldLayoutId id="2147484182" r:id="rId6"/>
    <p:sldLayoutId id="2147484183" r:id="rId7"/>
    <p:sldLayoutId id="2147484184" r:id="rId8"/>
    <p:sldLayoutId id="2147484185" r:id="rId9"/>
    <p:sldLayoutId id="2147484186" r:id="rId10"/>
    <p:sldLayoutId id="2147484187" r:id="rId11"/>
    <p:sldLayoutId id="2147484188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95225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0" r:id="rId1"/>
    <p:sldLayoutId id="2147484191" r:id="rId2"/>
    <p:sldLayoutId id="2147484192" r:id="rId3"/>
    <p:sldLayoutId id="2147484193" r:id="rId4"/>
    <p:sldLayoutId id="2147484194" r:id="rId5"/>
    <p:sldLayoutId id="2147484195" r:id="rId6"/>
    <p:sldLayoutId id="2147484196" r:id="rId7"/>
    <p:sldLayoutId id="2147484197" r:id="rId8"/>
    <p:sldLayoutId id="2147484198" r:id="rId9"/>
    <p:sldLayoutId id="2147484199" r:id="rId10"/>
    <p:sldLayoutId id="2147484200" r:id="rId11"/>
    <p:sldLayoutId id="2147484201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7667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33247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8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3271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0" r:id="rId1"/>
    <p:sldLayoutId id="2147484221" r:id="rId2"/>
    <p:sldLayoutId id="2147484222" r:id="rId3"/>
    <p:sldLayoutId id="2147484223" r:id="rId4"/>
    <p:sldLayoutId id="2147484224" r:id="rId5"/>
    <p:sldLayoutId id="2147484225" r:id="rId6"/>
    <p:sldLayoutId id="2147484226" r:id="rId7"/>
    <p:sldLayoutId id="2147484227" r:id="rId8"/>
    <p:sldLayoutId id="2147484228" r:id="rId9"/>
    <p:sldLayoutId id="2147484229" r:id="rId10"/>
    <p:sldLayoutId id="2147484230" r:id="rId11"/>
    <p:sldLayoutId id="2147484231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charset="-128"/>
              </a:defRPr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2056" name="Picture 12" descr="ppjtitle"/>
          <p:cNvPicPr>
            <a:picLocks noChangeAspect="1" noChangeArrowheads="1"/>
          </p:cNvPicPr>
          <p:nvPr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9229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3" r:id="rId1"/>
    <p:sldLayoutId id="2147484234" r:id="rId2"/>
    <p:sldLayoutId id="2147484235" r:id="rId3"/>
    <p:sldLayoutId id="2147484236" r:id="rId4"/>
    <p:sldLayoutId id="2147484237" r:id="rId5"/>
    <p:sldLayoutId id="2147484238" r:id="rId6"/>
    <p:sldLayoutId id="2147484239" r:id="rId7"/>
    <p:sldLayoutId id="2147484240" r:id="rId8"/>
    <p:sldLayoutId id="2147484241" r:id="rId9"/>
    <p:sldLayoutId id="2147484242" r:id="rId10"/>
    <p:sldLayoutId id="2147484243" r:id="rId11"/>
    <p:sldLayoutId id="2147484244" r:id="rId12"/>
    <p:sldLayoutId id="2147484245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09572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8" r:id="rId1"/>
    <p:sldLayoutId id="2147484249" r:id="rId2"/>
    <p:sldLayoutId id="2147484250" r:id="rId3"/>
    <p:sldLayoutId id="2147484251" r:id="rId4"/>
    <p:sldLayoutId id="2147484252" r:id="rId5"/>
    <p:sldLayoutId id="2147484253" r:id="rId6"/>
    <p:sldLayoutId id="2147484254" r:id="rId7"/>
    <p:sldLayoutId id="2147484255" r:id="rId8"/>
    <p:sldLayoutId id="2147484256" r:id="rId9"/>
    <p:sldLayoutId id="2147484257" r:id="rId10"/>
    <p:sldLayoutId id="2147484258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18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849332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  <p:sldLayoutId id="2147484264" r:id="rId5"/>
    <p:sldLayoutId id="2147484265" r:id="rId6"/>
    <p:sldLayoutId id="2147484266" r:id="rId7"/>
    <p:sldLayoutId id="2147484267" r:id="rId8"/>
    <p:sldLayoutId id="2147484268" r:id="rId9"/>
    <p:sldLayoutId id="2147484269" r:id="rId10"/>
    <p:sldLayoutId id="2147484270" r:id="rId11"/>
    <p:sldLayoutId id="2147484271" r:id="rId12"/>
    <p:sldLayoutId id="2147484272" r:id="rId13"/>
    <p:sldLayoutId id="2147484273" r:id="rId14"/>
    <p:sldLayoutId id="2147484274" r:id="rId15"/>
    <p:sldLayoutId id="2147484275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B82B932-88FB-40D1-87D4-1BA6FA3ED079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91681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7" r:id="rId1"/>
    <p:sldLayoutId id="2147484278" r:id="rId2"/>
    <p:sldLayoutId id="2147484279" r:id="rId3"/>
    <p:sldLayoutId id="2147484280" r:id="rId4"/>
    <p:sldLayoutId id="2147484281" r:id="rId5"/>
    <p:sldLayoutId id="2147484282" r:id="rId6"/>
    <p:sldLayoutId id="2147484283" r:id="rId7"/>
    <p:sldLayoutId id="2147484284" r:id="rId8"/>
    <p:sldLayoutId id="2147484285" r:id="rId9"/>
    <p:sldLayoutId id="2147484286" r:id="rId10"/>
    <p:sldLayoutId id="2147484287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5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  <p:sldLayoutId id="2147483725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93E2E7F-DEFC-4B02-9A35-2F59391B3C00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30747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3074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752" name="Picture 32" descr="ppjtitle"/>
          <p:cNvPicPr>
            <a:picLocks noChangeAspect="1" noChangeArrowheads="1"/>
          </p:cNvPicPr>
          <p:nvPr userDrawn="1"/>
        </p:nvPicPr>
        <p:blipFill>
          <a:blip r:embed="rId14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87970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9" r:id="rId1"/>
    <p:sldLayoutId id="2147484290" r:id="rId2"/>
    <p:sldLayoutId id="2147484291" r:id="rId3"/>
    <p:sldLayoutId id="2147484292" r:id="rId4"/>
    <p:sldLayoutId id="2147484293" r:id="rId5"/>
    <p:sldLayoutId id="2147484294" r:id="rId6"/>
    <p:sldLayoutId id="2147484295" r:id="rId7"/>
    <p:sldLayoutId id="2147484296" r:id="rId8"/>
    <p:sldLayoutId id="2147484297" r:id="rId9"/>
    <p:sldLayoutId id="2147484298" r:id="rId10"/>
    <p:sldLayoutId id="2147484299" r:id="rId11"/>
    <p:sldLayoutId id="2147484300" r:id="rId12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BA3116-1FD1-4A98-9CB4-C2CF9419C380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034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36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3432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4" r:id="rId1"/>
    <p:sldLayoutId id="2147484315" r:id="rId2"/>
    <p:sldLayoutId id="2147484316" r:id="rId3"/>
    <p:sldLayoutId id="2147484317" r:id="rId4"/>
    <p:sldLayoutId id="2147484318" r:id="rId5"/>
    <p:sldLayoutId id="2147484319" r:id="rId6"/>
    <p:sldLayoutId id="2147484320" r:id="rId7"/>
    <p:sldLayoutId id="2147484321" r:id="rId8"/>
    <p:sldLayoutId id="2147484322" r:id="rId9"/>
    <p:sldLayoutId id="2147484323" r:id="rId10"/>
    <p:sldLayoutId id="2147484324" r:id="rId11"/>
    <p:sldLayoutId id="2147484325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BA3116-1FD1-4A98-9CB4-C2CF9419C380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034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36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7294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7" r:id="rId1"/>
    <p:sldLayoutId id="2147484328" r:id="rId2"/>
    <p:sldLayoutId id="2147484329" r:id="rId3"/>
    <p:sldLayoutId id="2147484330" r:id="rId4"/>
    <p:sldLayoutId id="2147484331" r:id="rId5"/>
    <p:sldLayoutId id="2147484332" r:id="rId6"/>
    <p:sldLayoutId id="2147484333" r:id="rId7"/>
    <p:sldLayoutId id="2147484334" r:id="rId8"/>
    <p:sldLayoutId id="2147484335" r:id="rId9"/>
    <p:sldLayoutId id="2147484336" r:id="rId10"/>
    <p:sldLayoutId id="2147484337" r:id="rId11"/>
    <p:sldLayoutId id="2147484338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98909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0" r:id="rId1"/>
    <p:sldLayoutId id="2147484341" r:id="rId2"/>
    <p:sldLayoutId id="2147484342" r:id="rId3"/>
    <p:sldLayoutId id="2147484343" r:id="rId4"/>
    <p:sldLayoutId id="2147484344" r:id="rId5"/>
    <p:sldLayoutId id="2147484345" r:id="rId6"/>
    <p:sldLayoutId id="2147484346" r:id="rId7"/>
    <p:sldLayoutId id="2147484347" r:id="rId8"/>
    <p:sldLayoutId id="2147484348" r:id="rId9"/>
    <p:sldLayoutId id="2147484349" r:id="rId10"/>
    <p:sldLayoutId id="214748435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93E2E7F-DEFC-4B02-9A35-2F59391B3C00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30747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3074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752" name="Picture 32" descr="ppjtitle"/>
          <p:cNvPicPr>
            <a:picLocks noChangeAspect="1" noChangeArrowheads="1"/>
          </p:cNvPicPr>
          <p:nvPr userDrawn="1"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98860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2" r:id="rId1"/>
    <p:sldLayoutId id="2147484353" r:id="rId2"/>
    <p:sldLayoutId id="2147484354" r:id="rId3"/>
    <p:sldLayoutId id="2147484355" r:id="rId4"/>
    <p:sldLayoutId id="2147484356" r:id="rId5"/>
    <p:sldLayoutId id="2147484357" r:id="rId6"/>
    <p:sldLayoutId id="2147484358" r:id="rId7"/>
    <p:sldLayoutId id="2147484359" r:id="rId8"/>
    <p:sldLayoutId id="2147484360" r:id="rId9"/>
    <p:sldLayoutId id="2147484361" r:id="rId10"/>
    <p:sldLayoutId id="2147484362" r:id="rId11"/>
    <p:sldLayoutId id="2147484363" r:id="rId12"/>
    <p:sldLayoutId id="2147484364" r:id="rId13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57FA73D-4A5C-4119-B390-D37C6C737876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2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4344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4345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4346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12" descr="ppjtitle"/>
          <p:cNvPicPr>
            <a:picLocks noChangeAspect="1" noChangeArrowheads="1"/>
          </p:cNvPicPr>
          <p:nvPr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9500" y="0"/>
            <a:ext cx="1206500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580827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6" r:id="rId1"/>
    <p:sldLayoutId id="2147484367" r:id="rId2"/>
    <p:sldLayoutId id="2147484368" r:id="rId3"/>
    <p:sldLayoutId id="2147484369" r:id="rId4"/>
    <p:sldLayoutId id="2147484370" r:id="rId5"/>
    <p:sldLayoutId id="2147484371" r:id="rId6"/>
    <p:sldLayoutId id="2147484372" r:id="rId7"/>
    <p:sldLayoutId id="2147484373" r:id="rId8"/>
    <p:sldLayoutId id="2147484374" r:id="rId9"/>
    <p:sldLayoutId id="2147484375" r:id="rId10"/>
    <p:sldLayoutId id="2147484376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57FA73D-4A5C-4119-B390-D37C6C737876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2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4344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4345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4346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12" descr="ppjtitle"/>
          <p:cNvPicPr>
            <a:picLocks noChangeAspect="1" noChangeArrowheads="1"/>
          </p:cNvPicPr>
          <p:nvPr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9500" y="0"/>
            <a:ext cx="1206500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27098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0" r:id="rId1"/>
    <p:sldLayoutId id="2147484391" r:id="rId2"/>
    <p:sldLayoutId id="2147484392" r:id="rId3"/>
    <p:sldLayoutId id="2147484393" r:id="rId4"/>
    <p:sldLayoutId id="2147484394" r:id="rId5"/>
    <p:sldLayoutId id="2147484395" r:id="rId6"/>
    <p:sldLayoutId id="2147484396" r:id="rId7"/>
    <p:sldLayoutId id="2147484397" r:id="rId8"/>
    <p:sldLayoutId id="2147484398" r:id="rId9"/>
    <p:sldLayoutId id="2147484399" r:id="rId10"/>
    <p:sldLayoutId id="214748440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57FA73D-4A5C-4119-B390-D37C6C737876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2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4344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4345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4346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12" descr="ppjtitle"/>
          <p:cNvPicPr>
            <a:picLocks noChangeAspect="1" noChangeArrowheads="1"/>
          </p:cNvPicPr>
          <p:nvPr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9500" y="0"/>
            <a:ext cx="1206500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8836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2" r:id="rId1"/>
    <p:sldLayoutId id="2147484403" r:id="rId2"/>
    <p:sldLayoutId id="2147484404" r:id="rId3"/>
    <p:sldLayoutId id="2147484405" r:id="rId4"/>
    <p:sldLayoutId id="2147484406" r:id="rId5"/>
    <p:sldLayoutId id="2147484407" r:id="rId6"/>
    <p:sldLayoutId id="2147484408" r:id="rId7"/>
    <p:sldLayoutId id="2147484409" r:id="rId8"/>
    <p:sldLayoutId id="2147484410" r:id="rId9"/>
    <p:sldLayoutId id="2147484411" r:id="rId10"/>
    <p:sldLayoutId id="214748441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57FA73D-4A5C-4119-B390-D37C6C737876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14342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4344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4345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14346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12" descr="ppjtitle"/>
          <p:cNvPicPr>
            <a:picLocks noChangeAspect="1" noChangeArrowheads="1"/>
          </p:cNvPicPr>
          <p:nvPr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9500" y="0"/>
            <a:ext cx="1206500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6593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4" r:id="rId1"/>
    <p:sldLayoutId id="2147484415" r:id="rId2"/>
    <p:sldLayoutId id="2147484416" r:id="rId3"/>
    <p:sldLayoutId id="2147484417" r:id="rId4"/>
    <p:sldLayoutId id="2147484418" r:id="rId5"/>
    <p:sldLayoutId id="2147484419" r:id="rId6"/>
    <p:sldLayoutId id="2147484420" r:id="rId7"/>
    <p:sldLayoutId id="2147484421" r:id="rId8"/>
    <p:sldLayoutId id="2147484422" r:id="rId9"/>
    <p:sldLayoutId id="2147484423" r:id="rId10"/>
    <p:sldLayoutId id="2147484424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78DA2F96-2B0C-4037-86A6-570D11F5F5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0247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248" name="Picture 12" descr="ppjtitle"/>
          <p:cNvPicPr>
            <a:picLocks noChangeAspect="1" noChangeArrowheads="1"/>
          </p:cNvPicPr>
          <p:nvPr/>
        </p:nvPicPr>
        <p:blipFill>
          <a:blip r:embed="rId14" cstate="print"/>
          <a:srcRect l="1756" r="81940" b="42691"/>
          <a:stretch>
            <a:fillRect/>
          </a:stretch>
        </p:blipFill>
        <p:spPr bwMode="auto">
          <a:xfrm>
            <a:off x="8697915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249" name="Group 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9546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6" r:id="rId1"/>
    <p:sldLayoutId id="2147484427" r:id="rId2"/>
    <p:sldLayoutId id="2147484428" r:id="rId3"/>
    <p:sldLayoutId id="2147484429" r:id="rId4"/>
    <p:sldLayoutId id="2147484430" r:id="rId5"/>
    <p:sldLayoutId id="2147484431" r:id="rId6"/>
    <p:sldLayoutId id="2147484432" r:id="rId7"/>
    <p:sldLayoutId id="2147484433" r:id="rId8"/>
    <p:sldLayoutId id="2147484434" r:id="rId9"/>
    <p:sldLayoutId id="2147484435" r:id="rId10"/>
    <p:sldLayoutId id="2147484436" r:id="rId11"/>
    <p:sldLayoutId id="214748443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7" tIns="45704" rIns="91407" bIns="457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7" tIns="45704" rIns="91407" bIns="45704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7" tIns="45704" rIns="91407" bIns="45704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07" tIns="45704" rIns="91407" bIns="45704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3119069-7826-4511-981A-83D38F625CB6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600" b="1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600" b="1">
                <a:solidFill>
                  <a:srgbClr val="000000"/>
                </a:solidFill>
              </a:endParaRPr>
            </a:p>
          </p:txBody>
        </p:sp>
      </p:grpSp>
      <p:sp>
        <p:nvSpPr>
          <p:cNvPr id="8200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07" tIns="45704" rIns="91407" bIns="4570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8201" name="Picture 32" descr="ppjtitle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30188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30188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30188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30188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30188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35529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  <p:sldLayoutId id="2147484446" r:id="rId8"/>
    <p:sldLayoutId id="2147484447" r:id="rId9"/>
    <p:sldLayoutId id="2147484448" r:id="rId10"/>
    <p:sldLayoutId id="2147484449" r:id="rId11"/>
    <p:sldLayoutId id="2147484450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7008B80-D360-49A2-A8AC-9D93832127B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2056" name="Picture 12" descr="ppjtitle"/>
          <p:cNvPicPr>
            <a:picLocks noChangeAspect="1" noChangeArrowheads="1"/>
          </p:cNvPicPr>
          <p:nvPr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57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0218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  <p:sldLayoutId id="2147484453" r:id="rId2"/>
    <p:sldLayoutId id="2147484454" r:id="rId3"/>
    <p:sldLayoutId id="2147484455" r:id="rId4"/>
    <p:sldLayoutId id="2147484456" r:id="rId5"/>
    <p:sldLayoutId id="2147484457" r:id="rId6"/>
    <p:sldLayoutId id="2147484458" r:id="rId7"/>
    <p:sldLayoutId id="2147484459" r:id="rId8"/>
    <p:sldLayoutId id="2147484460" r:id="rId9"/>
    <p:sldLayoutId id="2147484461" r:id="rId10"/>
    <p:sldLayoutId id="2147484462" r:id="rId11"/>
    <p:sldLayoutId id="2147484463" r:id="rId12"/>
    <p:sldLayoutId id="2147484464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B82B932-88FB-40D1-87D4-1BA6FA3ED079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97619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6" r:id="rId1"/>
    <p:sldLayoutId id="2147484467" r:id="rId2"/>
    <p:sldLayoutId id="2147484468" r:id="rId3"/>
    <p:sldLayoutId id="2147484469" r:id="rId4"/>
    <p:sldLayoutId id="2147484470" r:id="rId5"/>
    <p:sldLayoutId id="2147484471" r:id="rId6"/>
    <p:sldLayoutId id="2147484472" r:id="rId7"/>
    <p:sldLayoutId id="2147484473" r:id="rId8"/>
    <p:sldLayoutId id="2147484474" r:id="rId9"/>
    <p:sldLayoutId id="2147484475" r:id="rId10"/>
    <p:sldLayoutId id="2147484476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3" name="Picture 32" descr="ppjtitle"/>
          <p:cNvPicPr>
            <a:picLocks noChangeAspect="1" noChangeArrowheads="1"/>
          </p:cNvPicPr>
          <p:nvPr userDrawn="1"/>
        </p:nvPicPr>
        <p:blipFill>
          <a:blip r:embed="rId17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99230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8" r:id="rId1"/>
    <p:sldLayoutId id="2147484479" r:id="rId2"/>
    <p:sldLayoutId id="2147484480" r:id="rId3"/>
    <p:sldLayoutId id="2147484481" r:id="rId4"/>
    <p:sldLayoutId id="2147484482" r:id="rId5"/>
    <p:sldLayoutId id="2147484483" r:id="rId6"/>
    <p:sldLayoutId id="2147484484" r:id="rId7"/>
    <p:sldLayoutId id="2147484485" r:id="rId8"/>
    <p:sldLayoutId id="2147484486" r:id="rId9"/>
    <p:sldLayoutId id="2147484487" r:id="rId10"/>
    <p:sldLayoutId id="2147484488" r:id="rId11"/>
    <p:sldLayoutId id="2147484489" r:id="rId12"/>
    <p:sldLayoutId id="2147484490" r:id="rId13"/>
    <p:sldLayoutId id="2147484491" r:id="rId14"/>
    <p:sldLayoutId id="2147484492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53418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4" r:id="rId1"/>
    <p:sldLayoutId id="2147484495" r:id="rId2"/>
    <p:sldLayoutId id="2147484496" r:id="rId3"/>
    <p:sldLayoutId id="2147484497" r:id="rId4"/>
    <p:sldLayoutId id="2147484498" r:id="rId5"/>
    <p:sldLayoutId id="2147484499" r:id="rId6"/>
    <p:sldLayoutId id="2147484500" r:id="rId7"/>
    <p:sldLayoutId id="2147484501" r:id="rId8"/>
    <p:sldLayoutId id="2147484502" r:id="rId9"/>
    <p:sldLayoutId id="2147484503" r:id="rId10"/>
    <p:sldLayoutId id="2147484504" r:id="rId11"/>
    <p:sldLayoutId id="2147484505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058025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8" r:id="rId1"/>
    <p:sldLayoutId id="2147484509" r:id="rId2"/>
    <p:sldLayoutId id="2147484510" r:id="rId3"/>
    <p:sldLayoutId id="2147484511" r:id="rId4"/>
    <p:sldLayoutId id="2147484512" r:id="rId5"/>
    <p:sldLayoutId id="2147484513" r:id="rId6"/>
    <p:sldLayoutId id="2147484514" r:id="rId7"/>
    <p:sldLayoutId id="2147484515" r:id="rId8"/>
    <p:sldLayoutId id="2147484516" r:id="rId9"/>
    <p:sldLayoutId id="2147484517" r:id="rId10"/>
    <p:sldLayoutId id="2147484518" r:id="rId11"/>
    <p:sldLayoutId id="2147484519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614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004" name="think-cell Slide" r:id="rId15" imgW="216" imgH="216" progId="TCLayout.ActiveDocument.1">
                  <p:embed/>
                </p:oleObj>
              </mc:Choice>
              <mc:Fallback>
                <p:oleObj name="think-cell Slid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614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548867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4886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b="0"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4886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AF5F53F-48D0-428F-AF03-A37ACE83B75F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548870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600" b="1">
              <a:solidFill>
                <a:srgbClr val="000000"/>
              </a:solidFill>
            </a:endParaRPr>
          </a:p>
        </p:txBody>
      </p:sp>
      <p:grpSp>
        <p:nvGrpSpPr>
          <p:cNvPr id="12295" name="Group 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548872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548873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600" b="1">
                <a:solidFill>
                  <a:srgbClr val="000000"/>
                </a:solidFill>
              </a:endParaRPr>
            </a:p>
          </p:txBody>
        </p:sp>
        <p:sp>
          <p:nvSpPr>
            <p:cNvPr id="548874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600" b="1">
                <a:solidFill>
                  <a:srgbClr val="000000"/>
                </a:solidFill>
              </a:endParaRPr>
            </a:p>
          </p:txBody>
        </p:sp>
      </p:grpSp>
      <p:sp>
        <p:nvSpPr>
          <p:cNvPr id="12296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2297" name="Picture 12" descr="ppjtitle"/>
          <p:cNvPicPr>
            <a:picLocks noChangeAspect="1" noChangeArrowheads="1"/>
          </p:cNvPicPr>
          <p:nvPr/>
        </p:nvPicPr>
        <p:blipFill>
          <a:blip r:embed="rId17" cstate="print"/>
          <a:srcRect l="1756" r="81940" b="42691"/>
          <a:stretch>
            <a:fillRect/>
          </a:stretch>
        </p:blipFill>
        <p:spPr bwMode="auto">
          <a:xfrm>
            <a:off x="8697939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1077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1" r:id="rId1"/>
    <p:sldLayoutId id="2147484522" r:id="rId2"/>
    <p:sldLayoutId id="2147484523" r:id="rId3"/>
    <p:sldLayoutId id="2147484524" r:id="rId4"/>
    <p:sldLayoutId id="2147484525" r:id="rId5"/>
    <p:sldLayoutId id="2147484526" r:id="rId6"/>
    <p:sldLayoutId id="2147484527" r:id="rId7"/>
    <p:sldLayoutId id="2147484528" r:id="rId8"/>
    <p:sldLayoutId id="2147484529" r:id="rId9"/>
    <p:sldLayoutId id="2147484530" r:id="rId10"/>
    <p:sldLayoutId id="214748453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88467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3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charset="-128"/>
              </a:defRPr>
            </a:lvl1pPr>
          </a:lstStyle>
          <a:p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charset="-128"/>
              </a:defRPr>
            </a:lvl1pPr>
          </a:lstStyle>
          <a:p>
            <a:fld id="{0CBC8F9F-117A-4E56-88CF-0C91C948C923}" type="slidenum">
              <a:rPr lang="ja-JP" altLang="en-US" smtClean="0">
                <a:solidFill>
                  <a:srgbClr val="000000"/>
                </a:solidFill>
              </a:rPr>
              <a:pPr/>
              <a:t>‹#›</a:t>
            </a:fld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2056" name="Picture 12" descr="ppjtitle"/>
          <p:cNvPicPr>
            <a:picLocks noChangeAspect="1" noChangeArrowheads="1"/>
          </p:cNvPicPr>
          <p:nvPr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84890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5" r:id="rId1"/>
    <p:sldLayoutId id="2147484536" r:id="rId2"/>
    <p:sldLayoutId id="2147484537" r:id="rId3"/>
    <p:sldLayoutId id="2147484538" r:id="rId4"/>
    <p:sldLayoutId id="2147484539" r:id="rId5"/>
    <p:sldLayoutId id="2147484540" r:id="rId6"/>
    <p:sldLayoutId id="2147484541" r:id="rId7"/>
    <p:sldLayoutId id="2147484542" r:id="rId8"/>
    <p:sldLayoutId id="2147484543" r:id="rId9"/>
    <p:sldLayoutId id="2147484544" r:id="rId10"/>
    <p:sldLayoutId id="2147484545" r:id="rId11"/>
    <p:sldLayoutId id="2147484546" r:id="rId12"/>
    <p:sldLayoutId id="2147484547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68757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0" r:id="rId1"/>
    <p:sldLayoutId id="2147484551" r:id="rId2"/>
    <p:sldLayoutId id="2147484552" r:id="rId3"/>
    <p:sldLayoutId id="2147484553" r:id="rId4"/>
    <p:sldLayoutId id="2147484554" r:id="rId5"/>
    <p:sldLayoutId id="2147484555" r:id="rId6"/>
    <p:sldLayoutId id="2147484556" r:id="rId7"/>
    <p:sldLayoutId id="2147484557" r:id="rId8"/>
    <p:sldLayoutId id="2147484558" r:id="rId9"/>
    <p:sldLayoutId id="2147484559" r:id="rId10"/>
    <p:sldLayoutId id="2147484560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0E5B27F-C93A-4AD1-908C-AC92C9F1E221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4104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4105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5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27378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2" r:id="rId1"/>
    <p:sldLayoutId id="2147484563" r:id="rId2"/>
    <p:sldLayoutId id="2147484564" r:id="rId3"/>
    <p:sldLayoutId id="2147484565" r:id="rId4"/>
    <p:sldLayoutId id="2147484566" r:id="rId5"/>
    <p:sldLayoutId id="2147484567" r:id="rId6"/>
    <p:sldLayoutId id="2147484568" r:id="rId7"/>
    <p:sldLayoutId id="2147484569" r:id="rId8"/>
    <p:sldLayoutId id="2147484570" r:id="rId9"/>
    <p:sldLayoutId id="2147484571" r:id="rId10"/>
    <p:sldLayoutId id="2147484572" r:id="rId11"/>
    <p:sldLayoutId id="2147484573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74454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5" r:id="rId1"/>
    <p:sldLayoutId id="2147484576" r:id="rId2"/>
    <p:sldLayoutId id="2147484577" r:id="rId3"/>
    <p:sldLayoutId id="2147484578" r:id="rId4"/>
    <p:sldLayoutId id="2147484579" r:id="rId5"/>
    <p:sldLayoutId id="2147484580" r:id="rId6"/>
    <p:sldLayoutId id="2147484581" r:id="rId7"/>
    <p:sldLayoutId id="2147484582" r:id="rId8"/>
    <p:sldLayoutId id="2147484583" r:id="rId9"/>
    <p:sldLayoutId id="2147484584" r:id="rId10"/>
    <p:sldLayoutId id="2147484585" r:id="rId11"/>
    <p:sldLayoutId id="2147484586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FBA3116-1FD1-4A98-9CB4-C2CF9419C380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mtClean="0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1034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35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  <p:sp>
          <p:nvSpPr>
            <p:cNvPr id="1036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1pPr>
              <a:lvl2pPr marL="742950" indent="-28575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2pPr>
              <a:lvl3pPr marL="11430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3pPr>
              <a:lvl4pPr marL="16002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4pPr>
              <a:lvl5pPr marL="2057400" indent="-228600"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 kumimoji="1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50" charset="-128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11062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8" r:id="rId1"/>
    <p:sldLayoutId id="2147484589" r:id="rId2"/>
    <p:sldLayoutId id="2147484590" r:id="rId3"/>
    <p:sldLayoutId id="2147484591" r:id="rId4"/>
    <p:sldLayoutId id="2147484592" r:id="rId5"/>
    <p:sldLayoutId id="2147484593" r:id="rId6"/>
    <p:sldLayoutId id="2147484594" r:id="rId7"/>
    <p:sldLayoutId id="2147484595" r:id="rId8"/>
    <p:sldLayoutId id="2147484596" r:id="rId9"/>
    <p:sldLayoutId id="2147484597" r:id="rId10"/>
    <p:sldLayoutId id="2147484598" r:id="rId11"/>
    <p:sldLayoutId id="2147484599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4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88885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1" r:id="rId1"/>
    <p:sldLayoutId id="2147484602" r:id="rId2"/>
    <p:sldLayoutId id="2147484603" r:id="rId3"/>
    <p:sldLayoutId id="2147484604" r:id="rId4"/>
    <p:sldLayoutId id="2147484605" r:id="rId5"/>
    <p:sldLayoutId id="2147484606" r:id="rId6"/>
    <p:sldLayoutId id="2147484607" r:id="rId7"/>
    <p:sldLayoutId id="2147484608" r:id="rId8"/>
    <p:sldLayoutId id="2147484609" r:id="rId9"/>
    <p:sldLayoutId id="2147484610" r:id="rId10"/>
    <p:sldLayoutId id="2147484611" r:id="rId11"/>
    <p:sldLayoutId id="2147484612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/>
              </a:solidFill>
            </a:endParaRPr>
          </a:p>
        </p:txBody>
      </p:sp>
      <p:grpSp>
        <p:nvGrpSpPr>
          <p:cNvPr id="7175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368944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  <p:sldLayoutId id="2147484623" r:id="rId10"/>
    <p:sldLayoutId id="2147484624" r:id="rId11"/>
    <p:sldLayoutId id="2147484625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7008B80-D360-49A2-A8AC-9D93832127B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2056" name="Picture 12" descr="ppjtitle"/>
          <p:cNvPicPr>
            <a:picLocks noChangeAspect="1" noChangeArrowheads="1"/>
          </p:cNvPicPr>
          <p:nvPr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57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9501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7" r:id="rId1"/>
    <p:sldLayoutId id="2147484628" r:id="rId2"/>
    <p:sldLayoutId id="2147484629" r:id="rId3"/>
    <p:sldLayoutId id="2147484630" r:id="rId4"/>
    <p:sldLayoutId id="2147484631" r:id="rId5"/>
    <p:sldLayoutId id="2147484632" r:id="rId6"/>
    <p:sldLayoutId id="2147484633" r:id="rId7"/>
    <p:sldLayoutId id="2147484634" r:id="rId8"/>
    <p:sldLayoutId id="2147484635" r:id="rId9"/>
    <p:sldLayoutId id="2147484636" r:id="rId10"/>
    <p:sldLayoutId id="2147484637" r:id="rId11"/>
    <p:sldLayoutId id="2147484638" r:id="rId12"/>
    <p:sldLayoutId id="2147484639" r:id="rId1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70835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1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49474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7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78763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70" r:id="rId2"/>
    <p:sldLayoutId id="2147484671" r:id="rId3"/>
    <p:sldLayoutId id="2147484672" r:id="rId4"/>
    <p:sldLayoutId id="2147484673" r:id="rId5"/>
    <p:sldLayoutId id="2147484674" r:id="rId6"/>
    <p:sldLayoutId id="2147484675" r:id="rId7"/>
    <p:sldLayoutId id="2147484676" r:id="rId8"/>
    <p:sldLayoutId id="2147484677" r:id="rId9"/>
    <p:sldLayoutId id="2147484678" r:id="rId10"/>
    <p:sldLayoutId id="2147484679" r:id="rId11"/>
    <p:sldLayoutId id="2147484680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3286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2" r:id="rId1"/>
    <p:sldLayoutId id="2147484683" r:id="rId2"/>
    <p:sldLayoutId id="2147484684" r:id="rId3"/>
    <p:sldLayoutId id="2147484685" r:id="rId4"/>
    <p:sldLayoutId id="2147484686" r:id="rId5"/>
    <p:sldLayoutId id="2147484687" r:id="rId6"/>
    <p:sldLayoutId id="2147484688" r:id="rId7"/>
    <p:sldLayoutId id="2147484689" r:id="rId8"/>
    <p:sldLayoutId id="2147484690" r:id="rId9"/>
    <p:sldLayoutId id="2147484691" r:id="rId10"/>
    <p:sldLayoutId id="2147484692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5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7175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48393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0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7008B80-D360-49A2-A8AC-9D93832127B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2055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2056" name="Picture 12" descr="ppjtitle"/>
          <p:cNvPicPr>
            <a:picLocks noChangeAspect="1" noChangeArrowheads="1"/>
          </p:cNvPicPr>
          <p:nvPr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57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99802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5" r:id="rId1"/>
    <p:sldLayoutId id="2147484736" r:id="rId2"/>
    <p:sldLayoutId id="2147484737" r:id="rId3"/>
    <p:sldLayoutId id="2147484738" r:id="rId4"/>
    <p:sldLayoutId id="2147484739" r:id="rId5"/>
    <p:sldLayoutId id="2147484740" r:id="rId6"/>
    <p:sldLayoutId id="2147484741" r:id="rId7"/>
    <p:sldLayoutId id="2147484742" r:id="rId8"/>
    <p:sldLayoutId id="2147484743" r:id="rId9"/>
    <p:sldLayoutId id="2147484744" r:id="rId10"/>
    <p:sldLayoutId id="2147484745" r:id="rId11"/>
    <p:sldLayoutId id="2147484746" r:id="rId12"/>
    <p:sldLayoutId id="2147484747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88672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5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4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54302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0" r:id="rId1"/>
    <p:sldLayoutId id="2147484792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89707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94" r:id="rId1"/>
    <p:sldLayoutId id="2147484795" r:id="rId2"/>
    <p:sldLayoutId id="2147484796" r:id="rId3"/>
    <p:sldLayoutId id="2147484797" r:id="rId4"/>
    <p:sldLayoutId id="2147484798" r:id="rId5"/>
    <p:sldLayoutId id="2147484799" r:id="rId6"/>
    <p:sldLayoutId id="2147484800" r:id="rId7"/>
    <p:sldLayoutId id="2147484801" r:id="rId8"/>
    <p:sldLayoutId id="2147484802" r:id="rId9"/>
    <p:sldLayoutId id="2147484803" r:id="rId10"/>
    <p:sldLayoutId id="2147484804" r:id="rId11"/>
    <p:sldLayoutId id="2147484805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087462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7" r:id="rId1"/>
    <p:sldLayoutId id="2147484808" r:id="rId2"/>
    <p:sldLayoutId id="2147484809" r:id="rId3"/>
    <p:sldLayoutId id="2147484810" r:id="rId4"/>
    <p:sldLayoutId id="2147484811" r:id="rId5"/>
    <p:sldLayoutId id="2147484812" r:id="rId6"/>
    <p:sldLayoutId id="2147484813" r:id="rId7"/>
    <p:sldLayoutId id="2147484814" r:id="rId8"/>
    <p:sldLayoutId id="2147484815" r:id="rId9"/>
    <p:sldLayoutId id="2147484816" r:id="rId10"/>
    <p:sldLayoutId id="2147484817" r:id="rId11"/>
    <p:sldLayoutId id="2147484818" r:id="rId12"/>
    <p:sldLayoutId id="2147484819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B82B932-88FB-40D1-87D4-1BA6FA3ED079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25388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1" r:id="rId1"/>
    <p:sldLayoutId id="2147484822" r:id="rId2"/>
    <p:sldLayoutId id="2147484823" r:id="rId3"/>
    <p:sldLayoutId id="2147484824" r:id="rId4"/>
    <p:sldLayoutId id="2147484825" r:id="rId5"/>
    <p:sldLayoutId id="2147484826" r:id="rId6"/>
    <p:sldLayoutId id="2147484827" r:id="rId7"/>
    <p:sldLayoutId id="2147484828" r:id="rId8"/>
    <p:sldLayoutId id="2147484829" r:id="rId9"/>
    <p:sldLayoutId id="2147484830" r:id="rId10"/>
    <p:sldLayoutId id="214748483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08215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7" r:id="rId1"/>
    <p:sldLayoutId id="2147484858" r:id="rId2"/>
    <p:sldLayoutId id="2147484859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B82B932-88FB-40D1-87D4-1BA6FA3ED079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612610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1" r:id="rId1"/>
    <p:sldLayoutId id="2147484862" r:id="rId2"/>
    <p:sldLayoutId id="2147484863" r:id="rId3"/>
    <p:sldLayoutId id="2147484864" r:id="rId4"/>
    <p:sldLayoutId id="2147484865" r:id="rId5"/>
    <p:sldLayoutId id="2147484866" r:id="rId6"/>
    <p:sldLayoutId id="2147484867" r:id="rId7"/>
    <p:sldLayoutId id="2147484868" r:id="rId8"/>
    <p:sldLayoutId id="2147484869" r:id="rId9"/>
    <p:sldLayoutId id="2147484870" r:id="rId10"/>
    <p:sldLayoutId id="2147484871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21159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5" r:id="rId1"/>
    <p:sldLayoutId id="2147484886" r:id="rId2"/>
    <p:sldLayoutId id="2147484887" r:id="rId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タイトル プレースホルダ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sp>
        <p:nvSpPr>
          <p:cNvPr id="3075" name="テキスト プレースホルダ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charset="0"/>
                <a:ea typeface="ＭＳ Ｐゴシック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856ABB2-73AC-4B0C-AC0F-68C286A99090}" type="slidenum">
              <a:rPr lang="ja-JP" altLang="en-US">
                <a:latin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ja-JP" alt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204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9" r:id="rId1"/>
    <p:sldLayoutId id="2147484890" r:id="rId2"/>
    <p:sldLayoutId id="2147484891" r:id="rId3"/>
    <p:sldLayoutId id="2147484892" r:id="rId4"/>
    <p:sldLayoutId id="2147484893" r:id="rId5"/>
    <p:sldLayoutId id="2147484894" r:id="rId6"/>
    <p:sldLayoutId id="2147484895" r:id="rId7"/>
    <p:sldLayoutId id="2147484896" r:id="rId8"/>
    <p:sldLayoutId id="2147484897" r:id="rId9"/>
    <p:sldLayoutId id="2147484898" r:id="rId10"/>
    <p:sldLayoutId id="2147484899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ＭＳ Ｐゴシック" charset="-128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ＭＳ Ｐゴシック" charset="-128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ＭＳ Ｐゴシック" charset="-128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1"/>
          </a:solidFill>
          <a:latin typeface="Calibri" pitchFamily="34" charset="0"/>
          <a:ea typeface="ＭＳ Ｐゴシック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  <a:ea typeface="+mn-ea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B82B932-88FB-40D1-87D4-1BA6FA3ED079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00">
              <a:solidFill>
                <a:srgbClr val="000000"/>
              </a:solidFill>
              <a:latin typeface="HG丸ｺﾞｼｯｸM-PRO" pitchFamily="50" charset="-128"/>
              <a:ea typeface="HG丸ｺﾞｼｯｸM-PRO" pitchFamily="50" charset="-128"/>
            </a:endParaRPr>
          </a:p>
        </p:txBody>
      </p:sp>
      <p:grpSp>
        <p:nvGrpSpPr>
          <p:cNvPr id="1031" name="Group 2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00">
                <a:solidFill>
                  <a:srgbClr val="000000"/>
                </a:solidFill>
                <a:latin typeface="HG丸ｺﾞｼｯｸM-PRO" pitchFamily="50" charset="-128"/>
                <a:ea typeface="HG丸ｺﾞｼｯｸM-PRO" pitchFamily="50" charset="-128"/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722295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13" r:id="rId1"/>
    <p:sldLayoutId id="2147484914" r:id="rId2"/>
    <p:sldLayoutId id="2147484915" r:id="rId3"/>
    <p:sldLayoutId id="2147484916" r:id="rId4"/>
    <p:sldLayoutId id="2147484917" r:id="rId5"/>
    <p:sldLayoutId id="2147484918" r:id="rId6"/>
    <p:sldLayoutId id="2147484919" r:id="rId7"/>
    <p:sldLayoutId id="2147484920" r:id="rId8"/>
    <p:sldLayoutId id="2147484921" r:id="rId9"/>
    <p:sldLayoutId id="2147484922" r:id="rId10"/>
    <p:sldLayoutId id="2147484923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3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92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92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92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286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86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86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286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2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97915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6100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26" r:id="rId1"/>
    <p:sldLayoutId id="2147484927" r:id="rId2"/>
    <p:sldLayoutId id="2147484928" r:id="rId3"/>
    <p:sldLayoutId id="2147484929" r:id="rId4"/>
    <p:sldLayoutId id="2147484930" r:id="rId5"/>
    <p:sldLayoutId id="2147484931" r:id="rId6"/>
    <p:sldLayoutId id="2147484932" r:id="rId7"/>
    <p:sldLayoutId id="2147484933" r:id="rId8"/>
    <p:sldLayoutId id="2147484934" r:id="rId9"/>
    <p:sldLayoutId id="2147484935" r:id="rId10"/>
    <p:sldLayoutId id="2147484936" r:id="rId11"/>
    <p:sldLayoutId id="2147484937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584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584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584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584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584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22037" algn="l" rtl="0" fontAlgn="base">
        <a:spcBef>
          <a:spcPct val="0"/>
        </a:spcBef>
        <a:spcAft>
          <a:spcPct val="0"/>
        </a:spcAft>
        <a:defRPr kumimoji="1" sz="2584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844073" algn="l" rtl="0" fontAlgn="base">
        <a:spcBef>
          <a:spcPct val="0"/>
        </a:spcBef>
        <a:spcAft>
          <a:spcPct val="0"/>
        </a:spcAft>
        <a:defRPr kumimoji="1" sz="2584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266110" algn="l" rtl="0" fontAlgn="base">
        <a:spcBef>
          <a:spcPct val="0"/>
        </a:spcBef>
        <a:spcAft>
          <a:spcPct val="0"/>
        </a:spcAft>
        <a:defRPr kumimoji="1" sz="2584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688147" algn="l" rtl="0" fontAlgn="base">
        <a:spcBef>
          <a:spcPct val="0"/>
        </a:spcBef>
        <a:spcAft>
          <a:spcPct val="0"/>
        </a:spcAft>
        <a:defRPr kumimoji="1" sz="2584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16528" indent="-316528" algn="l" rtl="0" eaLnBrk="0" fontAlgn="base" hangingPunct="0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685809" indent="-263773" algn="l" rtl="0" eaLnBrk="0" fontAlgn="base" hangingPunct="0">
        <a:spcBef>
          <a:spcPct val="20000"/>
        </a:spcBef>
        <a:spcAft>
          <a:spcPct val="0"/>
        </a:spcAft>
        <a:buChar char="–"/>
        <a:defRPr kumimoji="1" sz="2584">
          <a:solidFill>
            <a:schemeClr val="tx1"/>
          </a:solidFill>
          <a:latin typeface="+mn-lt"/>
          <a:ea typeface="ＭＳ Ｐゴシック" pitchFamily="50" charset="-128"/>
        </a:defRPr>
      </a:lvl2pPr>
      <a:lvl3pPr marL="1055092" indent="-211019" algn="l" rtl="0" eaLnBrk="0" fontAlgn="base" hangingPunct="0">
        <a:spcBef>
          <a:spcPct val="20000"/>
        </a:spcBef>
        <a:spcAft>
          <a:spcPct val="0"/>
        </a:spcAft>
        <a:buChar char="•"/>
        <a:defRPr kumimoji="1" sz="2216">
          <a:solidFill>
            <a:schemeClr val="tx1"/>
          </a:solidFill>
          <a:latin typeface="+mn-lt"/>
          <a:ea typeface="ＭＳ Ｐゴシック" pitchFamily="50" charset="-128"/>
        </a:defRPr>
      </a:lvl3pPr>
      <a:lvl4pPr marL="1477128" indent="-211019" algn="l" rtl="0" eaLnBrk="0" fontAlgn="base" hangingPunct="0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ＭＳ Ｐゴシック" pitchFamily="50" charset="-128"/>
        </a:defRPr>
      </a:lvl4pPr>
      <a:lvl5pPr marL="1899165" indent="-211019" algn="l" rtl="0" eaLnBrk="0" fontAlgn="base" hangingPunct="0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ＭＳ Ｐゴシック" pitchFamily="50" charset="-128"/>
        </a:defRPr>
      </a:lvl5pPr>
      <a:lvl6pPr marL="2321202" indent="-211019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3238" indent="-211019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5275" indent="-211019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7312" indent="-211019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4073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2037" algn="l" defTabSz="844073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4073" algn="l" defTabSz="844073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6110" algn="l" defTabSz="844073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8147" algn="l" defTabSz="844073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10184" algn="l" defTabSz="844073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2220" algn="l" defTabSz="844073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4257" algn="l" defTabSz="844073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6293" algn="l" defTabSz="844073" rtl="0" eaLnBrk="1" latinLnBrk="0" hangingPunct="1">
        <a:defRPr kumimoji="1"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F620983-0B98-4175-95A5-754D13AFE343}" type="slidenum">
              <a:rPr lang="en-US" altLang="ja-JP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>
              <a:solidFill>
                <a:prstClr val="black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prstClr val="black"/>
              </a:solidFill>
            </a:endParaRPr>
          </a:p>
        </p:txBody>
      </p:sp>
      <p:grpSp>
        <p:nvGrpSpPr>
          <p:cNvPr id="30747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prstClr val="black"/>
                </a:solidFill>
              </a:endParaRPr>
            </a:p>
          </p:txBody>
        </p:sp>
      </p:grpSp>
      <p:sp>
        <p:nvSpPr>
          <p:cNvPr id="3074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752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85368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9" r:id="rId1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2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92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292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92">
                <a:solidFill>
                  <a:srgbClr val="000000"/>
                </a:solidFill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FFB75A5-A45D-4036-9C9B-40EA51E7071B}" type="slidenum">
              <a:rPr lang="en-US" altLang="ja-JP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/>
          </a:p>
        </p:txBody>
      </p:sp>
      <p:sp>
        <p:nvSpPr>
          <p:cNvPr id="1030" name="Rectangle 6"/>
          <p:cNvSpPr>
            <a:spLocks noChangeArrowheads="1"/>
          </p:cNvSpPr>
          <p:nvPr userDrawn="1"/>
        </p:nvSpPr>
        <p:spPr bwMode="auto">
          <a:xfrm>
            <a:off x="0" y="2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 sz="1662">
              <a:solidFill>
                <a:srgbClr val="000000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 userDrawn="1"/>
        </p:nvGrpSpPr>
        <p:grpSpPr bwMode="auto">
          <a:xfrm>
            <a:off x="0" y="333377"/>
            <a:ext cx="9906000" cy="214313"/>
            <a:chOff x="0" y="255"/>
            <a:chExt cx="6240" cy="135"/>
          </a:xfrm>
        </p:grpSpPr>
        <p:sp>
          <p:nvSpPr>
            <p:cNvPr id="2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662">
                <a:solidFill>
                  <a:srgbClr val="000000"/>
                </a:solidFill>
              </a:endParaRPr>
            </a:p>
          </p:txBody>
        </p:sp>
        <p:sp>
          <p:nvSpPr>
            <p:cNvPr id="3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662">
                <a:solidFill>
                  <a:srgbClr val="000000"/>
                </a:solidFill>
              </a:endParaRPr>
            </a:p>
          </p:txBody>
        </p:sp>
        <p:sp>
          <p:nvSpPr>
            <p:cNvPr id="1034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 sz="1662">
                <a:solidFill>
                  <a:srgbClr val="000000"/>
                </a:solidFill>
              </a:endParaRPr>
            </a:p>
          </p:txBody>
        </p:sp>
      </p:grpSp>
      <p:sp>
        <p:nvSpPr>
          <p:cNvPr id="3080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81" name="Picture 12" descr="ppjtitle"/>
          <p:cNvPicPr>
            <a:picLocks noChangeAspect="1" noChangeArrowheads="1"/>
          </p:cNvPicPr>
          <p:nvPr userDrawn="1"/>
        </p:nvPicPr>
        <p:blipFill>
          <a:blip r:embed="rId15" cstate="print"/>
          <a:srcRect l="1756" r="81940" b="42691"/>
          <a:stretch>
            <a:fillRect/>
          </a:stretch>
        </p:blipFill>
        <p:spPr bwMode="auto">
          <a:xfrm>
            <a:off x="8697914" y="2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9525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5" r:id="rId1"/>
    <p:sldLayoutId id="2147484956" r:id="rId2"/>
    <p:sldLayoutId id="2147484957" r:id="rId3"/>
    <p:sldLayoutId id="2147484958" r:id="rId4"/>
    <p:sldLayoutId id="2147484959" r:id="rId5"/>
    <p:sldLayoutId id="2147484960" r:id="rId6"/>
    <p:sldLayoutId id="2147484961" r:id="rId7"/>
    <p:sldLayoutId id="2147484962" r:id="rId8"/>
    <p:sldLayoutId id="2147484963" r:id="rId9"/>
    <p:sldLayoutId id="2147484964" r:id="rId10"/>
    <p:sldLayoutId id="2147484965" r:id="rId11"/>
    <p:sldLayoutId id="2147484966" r:id="rId12"/>
    <p:sldLayoutId id="2147484967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5pPr>
      <a:lvl6pPr marL="422041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6pPr>
      <a:lvl7pPr marL="844083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7pPr>
      <a:lvl8pPr marL="1266124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8pPr>
      <a:lvl9pPr marL="1688165" algn="l" rtl="0" fontAlgn="base">
        <a:spcBef>
          <a:spcPct val="0"/>
        </a:spcBef>
        <a:spcAft>
          <a:spcPct val="0"/>
        </a:spcAft>
        <a:defRPr kumimoji="1" sz="2585">
          <a:solidFill>
            <a:schemeClr val="tx1"/>
          </a:solidFill>
          <a:latin typeface="HGP創英角ｺﾞｼｯｸUB" pitchFamily="50" charset="-128"/>
          <a:ea typeface="ＭＳ Ｐゴシック" pitchFamily="50" charset="-128"/>
        </a:defRPr>
      </a:lvl9pPr>
    </p:titleStyle>
    <p:bodyStyle>
      <a:lvl1pPr marL="316531" indent="-316531" algn="l" rtl="0" eaLnBrk="0" fontAlgn="base" hangingPunct="0">
        <a:spcBef>
          <a:spcPct val="20000"/>
        </a:spcBef>
        <a:spcAft>
          <a:spcPct val="0"/>
        </a:spcAft>
        <a:buChar char="•"/>
        <a:defRPr kumimoji="1" sz="2954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rtl="0" eaLnBrk="0" fontAlgn="base" hangingPunct="0">
        <a:spcBef>
          <a:spcPct val="20000"/>
        </a:spcBef>
        <a:spcAft>
          <a:spcPct val="0"/>
        </a:spcAft>
        <a:buChar char="–"/>
        <a:defRPr kumimoji="1" sz="2585">
          <a:solidFill>
            <a:schemeClr val="tx1"/>
          </a:solidFill>
          <a:latin typeface="+mn-lt"/>
          <a:ea typeface="+mn-ea"/>
        </a:defRPr>
      </a:lvl2pPr>
      <a:lvl3pPr marL="1055103" indent="-211021" algn="l" rtl="0" eaLnBrk="0" fontAlgn="base" hangingPunct="0">
        <a:spcBef>
          <a:spcPct val="20000"/>
        </a:spcBef>
        <a:spcAft>
          <a:spcPct val="0"/>
        </a:spcAft>
        <a:buChar char="•"/>
        <a:defRPr kumimoji="1" sz="2215">
          <a:solidFill>
            <a:schemeClr val="tx1"/>
          </a:solidFill>
          <a:latin typeface="+mn-lt"/>
          <a:ea typeface="+mn-ea"/>
        </a:defRPr>
      </a:lvl3pPr>
      <a:lvl4pPr marL="1477145" indent="-211021" algn="l" rtl="0" eaLnBrk="0" fontAlgn="base" hangingPunct="0">
        <a:spcBef>
          <a:spcPct val="20000"/>
        </a:spcBef>
        <a:spcAft>
          <a:spcPct val="0"/>
        </a:spcAft>
        <a:buChar char="–"/>
        <a:defRPr kumimoji="1" sz="1846">
          <a:solidFill>
            <a:schemeClr val="tx1"/>
          </a:solidFill>
          <a:latin typeface="+mn-lt"/>
          <a:ea typeface="+mn-ea"/>
        </a:defRPr>
      </a:lvl4pPr>
      <a:lvl5pPr marL="1899186" indent="-211021" algn="l" rtl="0" eaLnBrk="0" fontAlgn="base" hangingPunct="0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5pPr>
      <a:lvl6pPr marL="2321227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6pPr>
      <a:lvl7pPr marL="2743269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7pPr>
      <a:lvl8pPr marL="3165310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8pPr>
      <a:lvl9pPr marL="3587351" indent="-211021" algn="l" rtl="0" fontAlgn="base">
        <a:spcBef>
          <a:spcPct val="20000"/>
        </a:spcBef>
        <a:spcAft>
          <a:spcPct val="0"/>
        </a:spcAft>
        <a:buChar char="»"/>
        <a:defRPr kumimoji="1" sz="1846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00004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69" r:id="rId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4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Arial" charset="0"/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236B547-3939-4448-B510-15C4227AECE5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/>
        </p:nvSpPr>
        <p:spPr bwMode="auto">
          <a:xfrm>
            <a:off x="0" y="1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2" name="Group 27"/>
          <p:cNvGrpSpPr>
            <a:grpSpLocks/>
          </p:cNvGrpSpPr>
          <p:nvPr/>
        </p:nvGrpSpPr>
        <p:grpSpPr bwMode="auto">
          <a:xfrm>
            <a:off x="0" y="333378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7176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7177" name="Picture 32" descr="ppjtitle"/>
          <p:cNvPicPr>
            <a:picLocks noChangeAspect="1" noChangeArrowheads="1"/>
          </p:cNvPicPr>
          <p:nvPr/>
        </p:nvPicPr>
        <p:blipFill>
          <a:blip r:embed="rId14" cstate="email"/>
          <a:srcRect/>
          <a:stretch>
            <a:fillRect/>
          </a:stretch>
        </p:blipFill>
        <p:spPr bwMode="auto">
          <a:xfrm>
            <a:off x="8697916" y="1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868734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1" r:id="rId1"/>
    <p:sldLayoutId id="2147484972" r:id="rId2"/>
    <p:sldLayoutId id="2147484973" r:id="rId3"/>
    <p:sldLayoutId id="2147484974" r:id="rId4"/>
    <p:sldLayoutId id="2147484975" r:id="rId5"/>
    <p:sldLayoutId id="2147484976" r:id="rId6"/>
    <p:sldLayoutId id="2147484977" r:id="rId7"/>
    <p:sldLayoutId id="2147484978" r:id="rId8"/>
    <p:sldLayoutId id="2147484979" r:id="rId9"/>
    <p:sldLayoutId id="2147484980" r:id="rId10"/>
    <p:sldLayoutId id="2147484981" r:id="rId11"/>
    <p:sldLayoutId id="2147484982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ＭＳ Ｐゴシック" pitchFamily="50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ＭＳ Ｐゴシック" pitchFamily="50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ＭＳ Ｐゴシック" pitchFamily="50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ＭＳ Ｐゴシック" pitchFamily="50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770051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2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E2AE32A-D53C-41F8-B47A-94832CB534AD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770054" name="Rectangle 6"/>
          <p:cNvSpPr>
            <a:spLocks noChangeArrowheads="1"/>
          </p:cNvSpPr>
          <p:nvPr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sp>
        <p:nvSpPr>
          <p:cNvPr id="1031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2" name="Picture 12" descr="ppjtitle"/>
          <p:cNvPicPr>
            <a:picLocks noChangeAspect="1" noChangeArrowheads="1"/>
          </p:cNvPicPr>
          <p:nvPr/>
        </p:nvPicPr>
        <p:blipFill>
          <a:blip r:embed="rId14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33" name="Group 7"/>
          <p:cNvGrpSpPr>
            <a:grpSpLocks/>
          </p:cNvGrpSpPr>
          <p:nvPr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770056" name="Rectangle 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7" name="Rectangle 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770058" name="Rectangle 1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767505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4" r:id="rId1"/>
    <p:sldLayoutId id="2147484985" r:id="rId2"/>
    <p:sldLayoutId id="2147484986" r:id="rId3"/>
    <p:sldLayoutId id="2147484987" r:id="rId4"/>
    <p:sldLayoutId id="2147484988" r:id="rId5"/>
    <p:sldLayoutId id="2147484989" r:id="rId6"/>
    <p:sldLayoutId id="2147484990" r:id="rId7"/>
    <p:sldLayoutId id="2147484991" r:id="rId8"/>
    <p:sldLayoutId id="2147484992" r:id="rId9"/>
    <p:sldLayoutId id="2147484993" r:id="rId10"/>
    <p:sldLayoutId id="2147484994" r:id="rId11"/>
    <p:sldLayoutId id="2147484995" r:id="rId1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237288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50" charset="-128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699751B-B5C1-45D1-9F99-BA4D8D850F7E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1031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103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1033" name="Picture 32" descr="ppjtitle"/>
          <p:cNvPicPr>
            <a:picLocks noChangeAspect="1" noChangeArrowheads="1"/>
          </p:cNvPicPr>
          <p:nvPr userDrawn="1"/>
        </p:nvPicPr>
        <p:blipFill>
          <a:blip r:embed="rId4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9054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7" r:id="rId1"/>
    <p:sldLayoutId id="2147484998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</a:p>
        </p:txBody>
      </p:sp>
      <p:sp>
        <p:nvSpPr>
          <p:cNvPr id="30723" name="Rectangle 3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4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altLang="ja-JP">
              <a:solidFill>
                <a:srgbClr val="000000"/>
              </a:solidFill>
            </a:endParaRPr>
          </a:p>
        </p:txBody>
      </p:sp>
      <p:sp>
        <p:nvSpPr>
          <p:cNvPr id="3072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94600" y="6481142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CD644B2-A26B-4035-A035-CD583B49C01C}" type="slidenum">
              <a:rPr lang="en-US" altLang="ja-JP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ja-JP" dirty="0">
              <a:solidFill>
                <a:srgbClr val="000000"/>
              </a:solidFill>
            </a:endParaRPr>
          </a:p>
        </p:txBody>
      </p:sp>
      <p:sp>
        <p:nvSpPr>
          <p:cNvPr id="30726" name="Rectangle 6"/>
          <p:cNvSpPr>
            <a:spLocks noChangeArrowheads="1"/>
          </p:cNvSpPr>
          <p:nvPr userDrawn="1"/>
        </p:nvSpPr>
        <p:spPr bwMode="auto">
          <a:xfrm>
            <a:off x="0" y="0"/>
            <a:ext cx="9906000" cy="3667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ja-JP" altLang="en-US">
              <a:solidFill>
                <a:srgbClr val="000000"/>
              </a:solidFill>
            </a:endParaRPr>
          </a:p>
        </p:txBody>
      </p:sp>
      <p:grpSp>
        <p:nvGrpSpPr>
          <p:cNvPr id="30747" name="Group 27"/>
          <p:cNvGrpSpPr>
            <a:grpSpLocks/>
          </p:cNvGrpSpPr>
          <p:nvPr userDrawn="1"/>
        </p:nvGrpSpPr>
        <p:grpSpPr bwMode="auto">
          <a:xfrm>
            <a:off x="0" y="333375"/>
            <a:ext cx="9906000" cy="214313"/>
            <a:chOff x="0" y="255"/>
            <a:chExt cx="6240" cy="135"/>
          </a:xfrm>
        </p:grpSpPr>
        <p:sp>
          <p:nvSpPr>
            <p:cNvPr id="30748" name="Rectangle 28"/>
            <p:cNvSpPr>
              <a:spLocks noChangeArrowheads="1"/>
            </p:cNvSpPr>
            <p:nvPr userDrawn="1"/>
          </p:nvSpPr>
          <p:spPr bwMode="auto">
            <a:xfrm>
              <a:off x="0" y="345"/>
              <a:ext cx="6240" cy="45"/>
            </a:xfrm>
            <a:prstGeom prst="rect">
              <a:avLst/>
            </a:prstGeom>
            <a:solidFill>
              <a:srgbClr val="FF000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49" name="Rectangle 29"/>
            <p:cNvSpPr>
              <a:spLocks noChangeArrowheads="1"/>
            </p:cNvSpPr>
            <p:nvPr userDrawn="1"/>
          </p:nvSpPr>
          <p:spPr bwMode="auto">
            <a:xfrm>
              <a:off x="0" y="300"/>
              <a:ext cx="6240" cy="45"/>
            </a:xfrm>
            <a:prstGeom prst="rect">
              <a:avLst/>
            </a:prstGeom>
            <a:solidFill>
              <a:srgbClr val="FF3399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  <p:sp>
          <p:nvSpPr>
            <p:cNvPr id="30750" name="Rectangle 30"/>
            <p:cNvSpPr>
              <a:spLocks noChangeArrowheads="1"/>
            </p:cNvSpPr>
            <p:nvPr userDrawn="1"/>
          </p:nvSpPr>
          <p:spPr bwMode="auto">
            <a:xfrm>
              <a:off x="0" y="255"/>
              <a:ext cx="6240" cy="45"/>
            </a:xfrm>
            <a:prstGeom prst="rect">
              <a:avLst/>
            </a:prstGeom>
            <a:solidFill>
              <a:srgbClr val="FFCCFF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ja-JP" altLang="en-US">
                <a:solidFill>
                  <a:srgbClr val="000000"/>
                </a:solidFill>
              </a:endParaRPr>
            </a:p>
          </p:txBody>
        </p:sp>
      </p:grpSp>
      <p:sp>
        <p:nvSpPr>
          <p:cNvPr id="30742" name="Rectangle 2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826611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smtClean="0"/>
              <a:t>マスタ タイトルの書式設定</a:t>
            </a:r>
          </a:p>
        </p:txBody>
      </p:sp>
      <p:pic>
        <p:nvPicPr>
          <p:cNvPr id="30752" name="Picture 32" descr="ppjtitle"/>
          <p:cNvPicPr>
            <a:picLocks noChangeAspect="1" noChangeArrowheads="1"/>
          </p:cNvPicPr>
          <p:nvPr userDrawn="1"/>
        </p:nvPicPr>
        <p:blipFill>
          <a:blip r:embed="rId13" cstate="print"/>
          <a:srcRect l="1756" r="81940" b="42691"/>
          <a:stretch>
            <a:fillRect/>
          </a:stretch>
        </p:blipFill>
        <p:spPr bwMode="auto">
          <a:xfrm>
            <a:off x="8697913" y="0"/>
            <a:ext cx="1208087" cy="33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8176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1" r:id="rId1"/>
    <p:sldLayoutId id="2147485002" r:id="rId2"/>
    <p:sldLayoutId id="2147485003" r:id="rId3"/>
    <p:sldLayoutId id="2147485004" r:id="rId4"/>
    <p:sldLayoutId id="2147485005" r:id="rId5"/>
    <p:sldLayoutId id="2147485006" r:id="rId6"/>
    <p:sldLayoutId id="2147485007" r:id="rId7"/>
    <p:sldLayoutId id="2147485008" r:id="rId8"/>
    <p:sldLayoutId id="2147485009" r:id="rId9"/>
    <p:sldLayoutId id="2147485010" r:id="rId10"/>
    <p:sldLayoutId id="2147485011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2pPr>
      <a:lvl3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3pPr>
      <a:lvl4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4pPr>
      <a:lvl5pPr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5pPr>
      <a:lvl6pPr marL="4572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6pPr>
      <a:lvl7pPr marL="9144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7pPr>
      <a:lvl8pPr marL="13716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8pPr>
      <a:lvl9pPr marL="1828800" algn="l" rtl="0" fontAlgn="base">
        <a:spcBef>
          <a:spcPct val="0"/>
        </a:spcBef>
        <a:spcAft>
          <a:spcPct val="0"/>
        </a:spcAft>
        <a:defRPr kumimoji="1" sz="2800">
          <a:solidFill>
            <a:schemeClr val="tx1"/>
          </a:solidFill>
          <a:latin typeface="HGP創英角ｺﾞｼｯｸUB" pitchFamily="50" charset="-128"/>
          <a:ea typeface="HGP創英角ｺﾞｼｯｸUB" pitchFamily="50" charset="-128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2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jpeg"/><Relationship Id="rId3" Type="http://schemas.openxmlformats.org/officeDocument/2006/relationships/image" Target="../media/image22.jpg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17" Type="http://schemas.openxmlformats.org/officeDocument/2006/relationships/image" Target="../media/image35.gif"/><Relationship Id="rId2" Type="http://schemas.openxmlformats.org/officeDocument/2006/relationships/image" Target="../media/image21.jpg"/><Relationship Id="rId16" Type="http://schemas.openxmlformats.org/officeDocument/2006/relationships/image" Target="../media/image3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4.png"/><Relationship Id="rId11" Type="http://schemas.openxmlformats.org/officeDocument/2006/relationships/image" Target="../media/image29.jpeg"/><Relationship Id="rId5" Type="http://schemas.microsoft.com/office/2007/relationships/hdphoto" Target="../media/hdphoto1.wdp"/><Relationship Id="rId15" Type="http://schemas.openxmlformats.org/officeDocument/2006/relationships/image" Target="../media/image33.png"/><Relationship Id="rId10" Type="http://schemas.openxmlformats.org/officeDocument/2006/relationships/image" Target="../media/image28.jpeg"/><Relationship Id="rId4" Type="http://schemas.openxmlformats.org/officeDocument/2006/relationships/image" Target="../media/image23.png"/><Relationship Id="rId9" Type="http://schemas.openxmlformats.org/officeDocument/2006/relationships/image" Target="../media/image27.jpeg"/><Relationship Id="rId14" Type="http://schemas.openxmlformats.org/officeDocument/2006/relationships/image" Target="../media/image32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0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/>
          <p:cNvSpPr>
            <a:spLocks noGrp="1"/>
          </p:cNvSpPr>
          <p:nvPr>
            <p:ph type="ctrTitle"/>
          </p:nvPr>
        </p:nvSpPr>
        <p:spPr>
          <a:xfrm>
            <a:off x="-103112" y="2080866"/>
            <a:ext cx="10009112" cy="1224136"/>
          </a:xfrm>
        </p:spPr>
        <p:txBody>
          <a:bodyPr/>
          <a:lstStyle/>
          <a:p>
            <a:pPr algn="ctr"/>
            <a:r>
              <a:rPr lang="ja-JP" altLang="en-US" sz="3600" dirty="0" smtClean="0"/>
              <a:t>観光庁のご紹介</a:t>
            </a:r>
            <a:endParaRPr lang="en-US" altLang="ja-JP" sz="3600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34344" y="4048107"/>
            <a:ext cx="6934200" cy="1312168"/>
          </a:xfrm>
        </p:spPr>
        <p:txBody>
          <a:bodyPr/>
          <a:lstStyle/>
          <a:p>
            <a:r>
              <a:rPr kumimoji="1" lang="ja-JP" altLang="en-US" dirty="0" smtClean="0">
                <a:latin typeface="+mj-ea"/>
                <a:ea typeface="+mj-ea"/>
              </a:rPr>
              <a:t>観光庁 </a:t>
            </a:r>
            <a:endParaRPr kumimoji="1" lang="en-US" altLang="ja-JP" dirty="0" smtClean="0">
              <a:latin typeface="+mj-ea"/>
              <a:ea typeface="+mj-ea"/>
            </a:endParaRPr>
          </a:p>
          <a:p>
            <a:r>
              <a:rPr kumimoji="1" lang="ja-JP" altLang="en-US" dirty="0" smtClean="0">
                <a:latin typeface="+mj-ea"/>
                <a:ea typeface="+mj-ea"/>
              </a:rPr>
              <a:t>平成</a:t>
            </a:r>
            <a:r>
              <a:rPr kumimoji="1" lang="en-US" altLang="ja-JP" dirty="0">
                <a:latin typeface="+mj-ea"/>
                <a:ea typeface="+mj-ea"/>
              </a:rPr>
              <a:t>30</a:t>
            </a:r>
            <a:r>
              <a:rPr kumimoji="1" lang="ja-JP" altLang="en-US" dirty="0" smtClean="0">
                <a:latin typeface="+mj-ea"/>
                <a:ea typeface="+mj-ea"/>
              </a:rPr>
              <a:t>年</a:t>
            </a:r>
            <a:r>
              <a:rPr kumimoji="1" lang="en-US" altLang="ja-JP" dirty="0" smtClean="0">
                <a:latin typeface="+mj-ea"/>
                <a:ea typeface="+mj-ea"/>
              </a:rPr>
              <a:t>11</a:t>
            </a:r>
            <a:r>
              <a:rPr kumimoji="1" lang="ja-JP" altLang="en-US" dirty="0" smtClean="0">
                <a:latin typeface="+mj-ea"/>
                <a:ea typeface="+mj-ea"/>
              </a:rPr>
              <a:t>月</a:t>
            </a:r>
            <a:r>
              <a:rPr kumimoji="1" lang="en-US" altLang="ja-JP" dirty="0" smtClean="0">
                <a:latin typeface="+mj-ea"/>
                <a:ea typeface="+mj-ea"/>
              </a:rPr>
              <a:t>27</a:t>
            </a:r>
            <a:r>
              <a:rPr kumimoji="1" lang="ja-JP" altLang="en-US" dirty="0" smtClean="0">
                <a:latin typeface="+mj-ea"/>
                <a:ea typeface="+mj-ea"/>
              </a:rPr>
              <a:t>日</a:t>
            </a:r>
            <a:endParaRPr kumimoji="1" lang="en-US" altLang="ja-JP" dirty="0" smtClean="0">
              <a:latin typeface="+mj-ea"/>
              <a:ea typeface="+mj-ea"/>
            </a:endParaRPr>
          </a:p>
        </p:txBody>
      </p:sp>
    </p:spTree>
    <p:extLst>
      <p:ext uri="{BB962C8B-B14F-4D97-AF65-F5344CB8AC3E}">
        <p14:creationId xmlns:p14="http://schemas.microsoft.com/office/powerpoint/2010/main" val="2754836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正方形/長方形 20"/>
          <p:cNvSpPr>
            <a:spLocks noChangeArrowheads="1"/>
          </p:cNvSpPr>
          <p:nvPr/>
        </p:nvSpPr>
        <p:spPr bwMode="auto">
          <a:xfrm>
            <a:off x="112516" y="2277332"/>
            <a:ext cx="9521004" cy="1050331"/>
          </a:xfrm>
          <a:prstGeom prst="rect">
            <a:avLst/>
          </a:prstGeom>
          <a:solidFill>
            <a:srgbClr val="CCFFFF"/>
          </a:solidFill>
          <a:ln w="1905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indent="254000" fontAlgn="base">
              <a:spcBef>
                <a:spcPct val="0"/>
              </a:spcBef>
              <a:spcAft>
                <a:spcPct val="0"/>
              </a:spcAft>
            </a:pPr>
            <a:endParaRPr lang="en-US" altLang="ja-JP" sz="14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indent="254000" fontAlgn="base">
              <a:spcBef>
                <a:spcPct val="0"/>
              </a:spcBef>
              <a:spcAft>
                <a:spcPct val="0"/>
              </a:spcAft>
            </a:pPr>
            <a:r>
              <a:rPr lang="ja-JP" altLang="ja-JP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人口減少・少子高齢化</a:t>
            </a: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が進展する中、</a:t>
            </a:r>
            <a:r>
              <a:rPr lang="ja-JP" altLang="ja-JP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国内外からの交流人口の拡大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や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旅行消費</a:t>
            </a: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よって</a:t>
            </a:r>
            <a:r>
              <a:rPr lang="ja-JP" altLang="ja-JP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地域の活力</a:t>
            </a: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維持し、社会を発展させる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。</a:t>
            </a:r>
            <a:endParaRPr lang="ja-JP" altLang="ja-JP" sz="20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8" name="正方形/長方形 20"/>
          <p:cNvSpPr>
            <a:spLocks noChangeArrowheads="1"/>
          </p:cNvSpPr>
          <p:nvPr/>
        </p:nvSpPr>
        <p:spPr bwMode="auto">
          <a:xfrm>
            <a:off x="81559" y="841414"/>
            <a:ext cx="9551961" cy="1037855"/>
          </a:xfrm>
          <a:prstGeom prst="rect">
            <a:avLst/>
          </a:prstGeom>
          <a:solidFill>
            <a:srgbClr val="CCFFFF"/>
          </a:solidFill>
          <a:ln w="1905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indent="254000" fontAlgn="base">
              <a:spcBef>
                <a:spcPct val="0"/>
              </a:spcBef>
              <a:spcAft>
                <a:spcPct val="0"/>
              </a:spcAft>
            </a:pPr>
            <a:r>
              <a:rPr lang="ja-JP" altLang="ja-JP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急速な成長を遂げるアジア</a:t>
            </a: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はじめとする</a:t>
            </a:r>
            <a:r>
              <a:rPr lang="ja-JP" altLang="ja-JP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世界の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国際観光</a:t>
            </a:r>
            <a:r>
              <a:rPr lang="ja-JP" altLang="ja-JP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需要を取り込む</a:t>
            </a: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ことによって、</a:t>
            </a:r>
            <a:endParaRPr lang="en-US" altLang="ja-JP" sz="20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日本の</a:t>
            </a:r>
            <a:r>
              <a:rPr lang="ja-JP" altLang="ja-JP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力強い経済</a:t>
            </a: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取り戻す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。</a:t>
            </a:r>
            <a:endParaRPr lang="ja-JP" altLang="ja-JP" sz="20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12" name="正方形/長方形 20"/>
          <p:cNvSpPr>
            <a:spLocks noChangeArrowheads="1"/>
          </p:cNvSpPr>
          <p:nvPr/>
        </p:nvSpPr>
        <p:spPr bwMode="auto">
          <a:xfrm>
            <a:off x="112516" y="3732974"/>
            <a:ext cx="9521004" cy="1208194"/>
          </a:xfrm>
          <a:prstGeom prst="rect">
            <a:avLst/>
          </a:prstGeom>
          <a:solidFill>
            <a:srgbClr val="CCFFFF"/>
          </a:solidFill>
          <a:ln w="1905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indent="254000" fontAlgn="base">
              <a:spcBef>
                <a:spcPct val="0"/>
              </a:spcBef>
              <a:spcAft>
                <a:spcPct val="0"/>
              </a:spcAft>
            </a:pPr>
            <a:endParaRPr lang="en-US" altLang="ja-JP" sz="1100" dirty="0">
              <a:solidFill>
                <a:srgbClr val="FF0000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indent="254000" fontAlgn="base">
              <a:spcBef>
                <a:spcPct val="0"/>
              </a:spcBef>
              <a:spcAft>
                <a:spcPct val="0"/>
              </a:spcAft>
            </a:pPr>
            <a:r>
              <a:rPr lang="ja-JP" altLang="ja-JP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諸外国との双方向の交流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通して</a:t>
            </a: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、</a:t>
            </a:r>
            <a:r>
              <a:rPr lang="ja-JP" altLang="ja-JP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国際相互理解</a:t>
            </a: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を深め、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我が国</a:t>
            </a:r>
            <a:r>
              <a:rPr lang="ja-JP" altLang="en-US" sz="2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に対する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信頼と共感</a:t>
            </a:r>
            <a:r>
              <a:rPr lang="ja-JP" altLang="en-US" sz="2000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を強化する。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日本のソフトパワー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の向上によって、</a:t>
            </a:r>
            <a:r>
              <a:rPr lang="ja-JP" altLang="ja-JP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国際社会での日本の地位を確固たるものとす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るために、極めて重要。</a:t>
            </a:r>
            <a:endParaRPr lang="ja-JP" altLang="ja-JP" sz="20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" name="テキスト ボックス 1"/>
          <p:cNvSpPr txBox="1"/>
          <p:nvPr/>
        </p:nvSpPr>
        <p:spPr>
          <a:xfrm>
            <a:off x="272480" y="631831"/>
            <a:ext cx="2304256" cy="40011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ja-JP" altLang="en-US" sz="2000" dirty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成長戦略の柱</a:t>
            </a:r>
            <a:endParaRPr lang="ja-JP" altLang="en-US" sz="1600" dirty="0">
              <a:solidFill>
                <a:prstClr val="white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0" name="テキスト ボックス 19"/>
          <p:cNvSpPr txBox="1"/>
          <p:nvPr/>
        </p:nvSpPr>
        <p:spPr>
          <a:xfrm>
            <a:off x="272479" y="2060848"/>
            <a:ext cx="2537395" cy="40011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sz="200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algn="ctr"/>
            <a:r>
              <a:rPr lang="ja-JP" altLang="en-US" dirty="0" smtClean="0">
                <a:solidFill>
                  <a:prstClr val="white"/>
                </a:solidFill>
              </a:rPr>
              <a:t>地域の発展</a:t>
            </a:r>
            <a:r>
              <a:rPr lang="ja-JP" altLang="en-US" dirty="0">
                <a:solidFill>
                  <a:prstClr val="white"/>
                </a:solidFill>
              </a:rPr>
              <a:t>の</a:t>
            </a:r>
            <a:r>
              <a:rPr lang="ja-JP" altLang="en-US" dirty="0" smtClean="0">
                <a:solidFill>
                  <a:prstClr val="white"/>
                </a:solidFill>
              </a:rPr>
              <a:t>鍵</a:t>
            </a:r>
            <a:endParaRPr lang="ja-JP" altLang="en-US" dirty="0">
              <a:solidFill>
                <a:prstClr val="white"/>
              </a:solidFill>
            </a:endParaRPr>
          </a:p>
        </p:txBody>
      </p:sp>
      <p:sp>
        <p:nvSpPr>
          <p:cNvPr id="21" name="テキスト ボックス 20"/>
          <p:cNvSpPr txBox="1"/>
          <p:nvPr/>
        </p:nvSpPr>
        <p:spPr>
          <a:xfrm>
            <a:off x="272480" y="3532919"/>
            <a:ext cx="3888432" cy="40011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sz="200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algn="ctr"/>
            <a:r>
              <a:rPr lang="ja-JP" altLang="en-US" dirty="0" smtClean="0">
                <a:solidFill>
                  <a:prstClr val="white"/>
                </a:solidFill>
              </a:rPr>
              <a:t>国際</a:t>
            </a:r>
            <a:r>
              <a:rPr lang="ja-JP" altLang="en-US" dirty="0">
                <a:solidFill>
                  <a:prstClr val="white"/>
                </a:solidFill>
              </a:rPr>
              <a:t>社会での日本の</a:t>
            </a:r>
            <a:r>
              <a:rPr lang="ja-JP" altLang="en-US" dirty="0" smtClean="0">
                <a:solidFill>
                  <a:prstClr val="white"/>
                </a:solidFill>
              </a:rPr>
              <a:t>パワー</a:t>
            </a:r>
            <a:endParaRPr lang="ja-JP" altLang="en-US" dirty="0">
              <a:solidFill>
                <a:prstClr val="white"/>
              </a:solidFill>
            </a:endParaRPr>
          </a:p>
        </p:txBody>
      </p:sp>
      <p:sp>
        <p:nvSpPr>
          <p:cNvPr id="22" name="正方形/長方形 20"/>
          <p:cNvSpPr>
            <a:spLocks noChangeArrowheads="1"/>
          </p:cNvSpPr>
          <p:nvPr/>
        </p:nvSpPr>
        <p:spPr bwMode="auto">
          <a:xfrm>
            <a:off x="112516" y="5353485"/>
            <a:ext cx="9521004" cy="1155091"/>
          </a:xfrm>
          <a:prstGeom prst="rect">
            <a:avLst/>
          </a:prstGeom>
          <a:solidFill>
            <a:srgbClr val="CCFFFF"/>
          </a:solidFill>
          <a:ln w="19050">
            <a:solidFill>
              <a:srgbClr val="00206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pPr indent="254000" fontAlgn="base">
              <a:spcBef>
                <a:spcPct val="0"/>
              </a:spcBef>
              <a:spcAft>
                <a:spcPct val="0"/>
              </a:spcAft>
            </a:pPr>
            <a:endParaRPr lang="en-US" altLang="ja-JP" sz="20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indent="254000"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観光で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国を開き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、外国の人々に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日本文化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や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日本人の本質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触れて貰うことを通じて、</a:t>
            </a:r>
            <a:endParaRPr lang="en-US" altLang="ja-JP" sz="20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日本人自ら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も、その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価値を再認識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し、</a:t>
            </a:r>
            <a:r>
              <a:rPr lang="ja-JP" altLang="en-US" sz="2000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自らの文化や地域を誇り</a:t>
            </a:r>
            <a:r>
              <a:rPr lang="ja-JP" altLang="en-US" sz="20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に思う。</a:t>
            </a:r>
            <a:endParaRPr lang="ja-JP" altLang="ja-JP" sz="2000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3" name="テキスト ボックス 22"/>
          <p:cNvSpPr txBox="1"/>
          <p:nvPr/>
        </p:nvSpPr>
        <p:spPr>
          <a:xfrm>
            <a:off x="272480" y="5175087"/>
            <a:ext cx="4320480" cy="40011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sz="200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pPr algn="ctr"/>
            <a:r>
              <a:rPr lang="ja-JP" altLang="en-US" dirty="0">
                <a:solidFill>
                  <a:prstClr val="white"/>
                </a:solidFill>
              </a:rPr>
              <a:t>自らの</a:t>
            </a:r>
            <a:r>
              <a:rPr lang="ja-JP" altLang="en-US" dirty="0" smtClean="0">
                <a:solidFill>
                  <a:prstClr val="white"/>
                </a:solidFill>
              </a:rPr>
              <a:t>文化</a:t>
            </a:r>
            <a:r>
              <a:rPr lang="ja-JP" altLang="en-US" dirty="0">
                <a:solidFill>
                  <a:prstClr val="white"/>
                </a:solidFill>
              </a:rPr>
              <a:t>・</a:t>
            </a:r>
            <a:r>
              <a:rPr lang="ja-JP" altLang="en-US" dirty="0" smtClean="0">
                <a:solidFill>
                  <a:prstClr val="white"/>
                </a:solidFill>
              </a:rPr>
              <a:t>地域への誇り</a:t>
            </a:r>
            <a:endParaRPr lang="ja-JP" altLang="en-US" dirty="0">
              <a:solidFill>
                <a:prstClr val="white"/>
              </a:solidFill>
            </a:endParaRPr>
          </a:p>
        </p:txBody>
      </p:sp>
      <p:sp>
        <p:nvSpPr>
          <p:cNvPr id="3" name="正方形/長方形 2"/>
          <p:cNvSpPr/>
          <p:nvPr/>
        </p:nvSpPr>
        <p:spPr>
          <a:xfrm>
            <a:off x="-12879" y="-6892"/>
            <a:ext cx="322480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ja-JP" altLang="en-US" sz="2400" dirty="0" smtClean="0">
                <a:solidFill>
                  <a:prstClr val="black"/>
                </a:solidFill>
                <a:latin typeface="+mj-lt"/>
                <a:ea typeface="HGP創英角ｺﾞｼｯｸUB"/>
                <a:cs typeface="メイリオ" panose="020B0604030504040204" pitchFamily="50" charset="-128"/>
              </a:rPr>
              <a:t>観光</a:t>
            </a:r>
            <a:r>
              <a:rPr lang="ja-JP" altLang="en-US" sz="2400" dirty="0">
                <a:solidFill>
                  <a:prstClr val="black"/>
                </a:solidFill>
                <a:latin typeface="+mj-lt"/>
                <a:ea typeface="HGP創英角ｺﾞｼｯｸUB"/>
                <a:cs typeface="メイリオ" panose="020B0604030504040204" pitchFamily="50" charset="-128"/>
              </a:rPr>
              <a:t>立国の意義</a:t>
            </a: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1D24F9B-1059-4270-837C-682AF1019EFE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1</a:t>
            </a:fld>
            <a:endParaRPr lang="en-US" altLang="ja-JP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946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正方形/長方形 13"/>
          <p:cNvSpPr/>
          <p:nvPr/>
        </p:nvSpPr>
        <p:spPr>
          <a:xfrm>
            <a:off x="433882" y="4158622"/>
            <a:ext cx="3506913" cy="483361"/>
          </a:xfrm>
          <a:prstGeom prst="rect">
            <a:avLst/>
          </a:prstGeom>
          <a:solidFill>
            <a:srgbClr val="FF66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 b="1" dirty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訪日外国人旅行消費額</a:t>
            </a:r>
          </a:p>
        </p:txBody>
      </p:sp>
      <p:sp>
        <p:nvSpPr>
          <p:cNvPr id="12" name="正方形/長方形 11"/>
          <p:cNvSpPr/>
          <p:nvPr/>
        </p:nvSpPr>
        <p:spPr>
          <a:xfrm>
            <a:off x="1732133" y="2996952"/>
            <a:ext cx="6475861" cy="421443"/>
          </a:xfrm>
          <a:prstGeom prst="rect">
            <a:avLst/>
          </a:prstGeom>
          <a:solidFill>
            <a:srgbClr val="FFFF00">
              <a:alpha val="49804"/>
            </a:srgbClr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新たな目標への挑戦！</a:t>
            </a:r>
          </a:p>
        </p:txBody>
      </p:sp>
      <p:sp>
        <p:nvSpPr>
          <p:cNvPr id="28" name="正方形/長方形 27"/>
          <p:cNvSpPr/>
          <p:nvPr/>
        </p:nvSpPr>
        <p:spPr>
          <a:xfrm>
            <a:off x="436154" y="4775046"/>
            <a:ext cx="3506913" cy="483361"/>
          </a:xfrm>
          <a:prstGeom prst="rect">
            <a:avLst/>
          </a:prstGeom>
          <a:solidFill>
            <a:srgbClr val="FF66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b="1" dirty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地方部での外国人延べ宿泊者数</a:t>
            </a:r>
          </a:p>
        </p:txBody>
      </p:sp>
      <p:sp>
        <p:nvSpPr>
          <p:cNvPr id="35" name="正方形/長方形 34"/>
          <p:cNvSpPr/>
          <p:nvPr/>
        </p:nvSpPr>
        <p:spPr>
          <a:xfrm>
            <a:off x="438426" y="5405118"/>
            <a:ext cx="3506913" cy="483361"/>
          </a:xfrm>
          <a:prstGeom prst="rect">
            <a:avLst/>
          </a:prstGeom>
          <a:solidFill>
            <a:srgbClr val="FF66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 b="1" dirty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外国人リピーター数</a:t>
            </a:r>
          </a:p>
        </p:txBody>
      </p:sp>
      <p:sp>
        <p:nvSpPr>
          <p:cNvPr id="36" name="正方形/長方形 35"/>
          <p:cNvSpPr/>
          <p:nvPr/>
        </p:nvSpPr>
        <p:spPr>
          <a:xfrm>
            <a:off x="454346" y="6007896"/>
            <a:ext cx="3506913" cy="483361"/>
          </a:xfrm>
          <a:prstGeom prst="rect">
            <a:avLst/>
          </a:prstGeom>
          <a:solidFill>
            <a:srgbClr val="FF66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 b="1" dirty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日本人国内旅行消費額</a:t>
            </a:r>
          </a:p>
        </p:txBody>
      </p:sp>
      <p:sp>
        <p:nvSpPr>
          <p:cNvPr id="37" name="正方形/長方形 36"/>
          <p:cNvSpPr/>
          <p:nvPr/>
        </p:nvSpPr>
        <p:spPr>
          <a:xfrm>
            <a:off x="436154" y="3533097"/>
            <a:ext cx="3506913" cy="483361"/>
          </a:xfrm>
          <a:prstGeom prst="rect">
            <a:avLst/>
          </a:prstGeom>
          <a:solidFill>
            <a:srgbClr val="FF6600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 b="1" dirty="0">
                <a:solidFill>
                  <a:prstClr val="white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訪日外国人旅行者数</a:t>
            </a:r>
          </a:p>
        </p:txBody>
      </p:sp>
      <p:sp>
        <p:nvSpPr>
          <p:cNvPr id="38" name="正方形/長方形 37"/>
          <p:cNvSpPr/>
          <p:nvPr/>
        </p:nvSpPr>
        <p:spPr>
          <a:xfrm>
            <a:off x="3960701" y="3501008"/>
            <a:ext cx="5932788" cy="495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2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ja-JP" altLang="en-US" sz="1400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4,000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万人</a:t>
            </a:r>
            <a:r>
              <a:rPr lang="ja-JP" altLang="en-US" sz="20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  </a:t>
            </a:r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3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ja-JP" altLang="en-US" sz="2000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6,000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万人</a:t>
            </a:r>
            <a:endParaRPr lang="en-US" altLang="ja-JP" sz="2000" b="1" u="sng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39" name="正方形/長方形 38"/>
          <p:cNvSpPr/>
          <p:nvPr/>
        </p:nvSpPr>
        <p:spPr>
          <a:xfrm>
            <a:off x="3964296" y="4075195"/>
            <a:ext cx="5932788" cy="495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2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   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8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兆円</a:t>
            </a:r>
            <a:r>
              <a:rPr lang="ja-JP" altLang="en-US" sz="20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  </a:t>
            </a:r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3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ja-JP" altLang="en-US" sz="2000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     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5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兆円</a:t>
            </a:r>
            <a:endParaRPr lang="en-US" altLang="ja-JP" sz="2000" b="1" u="sng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0" name="正方形/長方形 39"/>
          <p:cNvSpPr/>
          <p:nvPr/>
        </p:nvSpPr>
        <p:spPr>
          <a:xfrm>
            <a:off x="3960701" y="4629759"/>
            <a:ext cx="5932788" cy="495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2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ja-JP" altLang="en-US" sz="1400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7,000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万人泊</a:t>
            </a:r>
            <a:r>
              <a:rPr lang="ja-JP" altLang="en-US" sz="20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3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1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億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,000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万人泊</a:t>
            </a:r>
            <a:endParaRPr lang="en-US" altLang="ja-JP" sz="2000" b="1" u="sng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1" name="正方形/長方形 40"/>
          <p:cNvSpPr/>
          <p:nvPr/>
        </p:nvSpPr>
        <p:spPr>
          <a:xfrm>
            <a:off x="3960701" y="5274445"/>
            <a:ext cx="5932788" cy="495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2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ja-JP" altLang="en-US" sz="1400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  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,400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万人</a:t>
            </a:r>
            <a:r>
              <a:rPr lang="ja-JP" altLang="en-US" sz="20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  </a:t>
            </a:r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3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,600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万人</a:t>
            </a:r>
            <a:endParaRPr lang="en-US" altLang="ja-JP" sz="2000" b="1" u="sng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42" name="正方形/長方形 41"/>
          <p:cNvSpPr/>
          <p:nvPr/>
        </p:nvSpPr>
        <p:spPr>
          <a:xfrm>
            <a:off x="3960701" y="5888208"/>
            <a:ext cx="5932788" cy="4954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 anchorCtr="0"/>
          <a:lstStyle/>
          <a:p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2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 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1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兆円</a:t>
            </a:r>
            <a:r>
              <a:rPr lang="ja-JP" altLang="en-US" sz="20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  </a:t>
            </a:r>
            <a:r>
              <a:rPr lang="en-US" altLang="ja-JP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30</a:t>
            </a:r>
            <a:r>
              <a:rPr lang="ja-JP" altLang="en-US" sz="14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：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　  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2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兆円</a:t>
            </a:r>
            <a:endParaRPr lang="en-US" altLang="ja-JP" sz="2000" b="1" u="sng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9" name="正方形/長方形 28"/>
          <p:cNvSpPr/>
          <p:nvPr/>
        </p:nvSpPr>
        <p:spPr>
          <a:xfrm>
            <a:off x="381000" y="11085"/>
            <a:ext cx="9144000" cy="494725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2400" b="1" dirty="0">
              <a:solidFill>
                <a:prstClr val="white"/>
              </a:solidFill>
              <a:latin typeface="HGS教科書体" panose="02020600000000000000" pitchFamily="18" charset="-128"/>
              <a:ea typeface="HGS教科書体" panose="02020600000000000000" pitchFamily="18" charset="-128"/>
              <a:cs typeface="メイリオ" panose="020B0604030504040204" pitchFamily="50" charset="-128"/>
            </a:endParaRPr>
          </a:p>
        </p:txBody>
      </p:sp>
      <p:sp>
        <p:nvSpPr>
          <p:cNvPr id="30" name="正方形/長方形 29"/>
          <p:cNvSpPr/>
          <p:nvPr/>
        </p:nvSpPr>
        <p:spPr>
          <a:xfrm>
            <a:off x="1132" y="-45807"/>
            <a:ext cx="10015184" cy="59592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400" dirty="0">
                <a:solidFill>
                  <a:prstClr val="white"/>
                </a:solidFill>
                <a:latin typeface="HGP創英角ｺﾞｼｯｸUB" panose="020B0900000000000000" pitchFamily="50" charset="-128"/>
                <a:ea typeface="HGP創英角ｺﾞｼｯｸUB" panose="020B0900000000000000" pitchFamily="50" charset="-128"/>
                <a:cs typeface="メイリオ" panose="020B0604030504040204" pitchFamily="50" charset="-128"/>
              </a:rPr>
              <a:t>明日の日本を支える観光ビジョン　新たな目標値</a:t>
            </a:r>
          </a:p>
        </p:txBody>
      </p:sp>
      <p:sp>
        <p:nvSpPr>
          <p:cNvPr id="25" name="テキスト ボックス 24"/>
          <p:cNvSpPr txBox="1"/>
          <p:nvPr/>
        </p:nvSpPr>
        <p:spPr>
          <a:xfrm>
            <a:off x="5002430" y="3891627"/>
            <a:ext cx="1413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ja-JP" altLang="en-US" sz="1100" dirty="0">
                <a:solidFill>
                  <a:prstClr val="black"/>
                </a:solidFill>
              </a:rPr>
              <a:t>（</a:t>
            </a:r>
            <a:r>
              <a:rPr lang="en-US" altLang="ja-JP" sz="1100" dirty="0">
                <a:solidFill>
                  <a:prstClr val="black"/>
                </a:solidFill>
              </a:rPr>
              <a:t>2015</a:t>
            </a:r>
            <a:r>
              <a:rPr lang="ja-JP" altLang="en-US" sz="1100" dirty="0">
                <a:solidFill>
                  <a:prstClr val="black"/>
                </a:solidFill>
              </a:rPr>
              <a:t>年の約</a:t>
            </a:r>
            <a:r>
              <a:rPr lang="en-US" altLang="ja-JP" sz="1100" dirty="0">
                <a:solidFill>
                  <a:prstClr val="black"/>
                </a:solidFill>
              </a:rPr>
              <a:t>2</a:t>
            </a:r>
            <a:r>
              <a:rPr lang="ja-JP" altLang="en-US" sz="1100" dirty="0">
                <a:solidFill>
                  <a:prstClr val="black"/>
                </a:solidFill>
              </a:rPr>
              <a:t>倍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 smtClean="0">
                <a:solidFill>
                  <a:prstClr val="black"/>
                </a:solidFill>
              </a:rPr>
              <a:t>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7878699" y="3881468"/>
            <a:ext cx="1413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100" dirty="0">
                <a:solidFill>
                  <a:prstClr val="black"/>
                </a:solidFill>
              </a:rPr>
              <a:t>（</a:t>
            </a:r>
            <a:r>
              <a:rPr lang="en-US" altLang="ja-JP" sz="1100" dirty="0">
                <a:solidFill>
                  <a:prstClr val="black"/>
                </a:solidFill>
              </a:rPr>
              <a:t>2015</a:t>
            </a:r>
            <a:r>
              <a:rPr lang="ja-JP" altLang="en-US" sz="1100" dirty="0">
                <a:solidFill>
                  <a:prstClr val="black"/>
                </a:solidFill>
              </a:rPr>
              <a:t>年の約</a:t>
            </a:r>
            <a:r>
              <a:rPr lang="en-US" altLang="ja-JP" sz="1100" dirty="0">
                <a:solidFill>
                  <a:prstClr val="black"/>
                </a:solidFill>
              </a:rPr>
              <a:t>3</a:t>
            </a:r>
            <a:r>
              <a:rPr lang="ja-JP" altLang="en-US" sz="1100" dirty="0">
                <a:solidFill>
                  <a:prstClr val="black"/>
                </a:solidFill>
              </a:rPr>
              <a:t>倍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>
                <a:solidFill>
                  <a:prstClr val="black"/>
                </a:solidFill>
              </a:rPr>
              <a:t> 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33" name="テキスト ボックス 32"/>
          <p:cNvSpPr txBox="1"/>
          <p:nvPr/>
        </p:nvSpPr>
        <p:spPr>
          <a:xfrm>
            <a:off x="5075124" y="4465774"/>
            <a:ext cx="1413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100" dirty="0">
                <a:solidFill>
                  <a:prstClr val="black"/>
                </a:solidFill>
              </a:rPr>
              <a:t>（</a:t>
            </a:r>
            <a:r>
              <a:rPr lang="en-US" altLang="ja-JP" sz="1100" dirty="0">
                <a:solidFill>
                  <a:prstClr val="black"/>
                </a:solidFill>
              </a:rPr>
              <a:t>2015</a:t>
            </a:r>
            <a:r>
              <a:rPr lang="ja-JP" altLang="en-US" sz="1100" dirty="0">
                <a:solidFill>
                  <a:prstClr val="black"/>
                </a:solidFill>
              </a:rPr>
              <a:t>年の</a:t>
            </a:r>
            <a:r>
              <a:rPr lang="en-US" altLang="ja-JP" sz="1100" dirty="0">
                <a:solidFill>
                  <a:prstClr val="black"/>
                </a:solidFill>
              </a:rPr>
              <a:t>2</a:t>
            </a:r>
            <a:r>
              <a:rPr lang="ja-JP" altLang="en-US" sz="1100" dirty="0">
                <a:solidFill>
                  <a:prstClr val="black"/>
                </a:solidFill>
              </a:rPr>
              <a:t>倍超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>
                <a:solidFill>
                  <a:prstClr val="black"/>
                </a:solidFill>
              </a:rPr>
              <a:t> 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44" name="テキスト ボックス 43"/>
          <p:cNvSpPr txBox="1"/>
          <p:nvPr/>
        </p:nvSpPr>
        <p:spPr>
          <a:xfrm>
            <a:off x="7878699" y="4470021"/>
            <a:ext cx="1413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100" dirty="0">
                <a:solidFill>
                  <a:prstClr val="black"/>
                </a:solidFill>
              </a:rPr>
              <a:t>（</a:t>
            </a:r>
            <a:r>
              <a:rPr lang="en-US" altLang="ja-JP" sz="1100" dirty="0">
                <a:solidFill>
                  <a:prstClr val="black"/>
                </a:solidFill>
              </a:rPr>
              <a:t>2015</a:t>
            </a:r>
            <a:r>
              <a:rPr lang="ja-JP" altLang="en-US" sz="1100" dirty="0">
                <a:solidFill>
                  <a:prstClr val="black"/>
                </a:solidFill>
              </a:rPr>
              <a:t>年の</a:t>
            </a:r>
            <a:r>
              <a:rPr lang="en-US" altLang="ja-JP" sz="1100" dirty="0">
                <a:solidFill>
                  <a:prstClr val="black"/>
                </a:solidFill>
              </a:rPr>
              <a:t>4</a:t>
            </a:r>
            <a:r>
              <a:rPr lang="ja-JP" altLang="en-US" sz="1100" dirty="0">
                <a:solidFill>
                  <a:prstClr val="black"/>
                </a:solidFill>
              </a:rPr>
              <a:t>倍超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>
                <a:solidFill>
                  <a:prstClr val="black"/>
                </a:solidFill>
              </a:rPr>
              <a:t> 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45" name="テキスト ボックス 44"/>
          <p:cNvSpPr txBox="1"/>
          <p:nvPr/>
        </p:nvSpPr>
        <p:spPr>
          <a:xfrm>
            <a:off x="5170525" y="5033312"/>
            <a:ext cx="1413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100" dirty="0">
                <a:solidFill>
                  <a:prstClr val="black"/>
                </a:solidFill>
              </a:rPr>
              <a:t>（</a:t>
            </a:r>
            <a:r>
              <a:rPr lang="en-US" altLang="ja-JP" sz="1100" dirty="0">
                <a:solidFill>
                  <a:prstClr val="black"/>
                </a:solidFill>
              </a:rPr>
              <a:t>2015</a:t>
            </a:r>
            <a:r>
              <a:rPr lang="ja-JP" altLang="en-US" sz="1100" dirty="0">
                <a:solidFill>
                  <a:prstClr val="black"/>
                </a:solidFill>
              </a:rPr>
              <a:t>年の</a:t>
            </a:r>
            <a:r>
              <a:rPr lang="en-US" altLang="ja-JP" sz="1100" dirty="0">
                <a:solidFill>
                  <a:prstClr val="black"/>
                </a:solidFill>
              </a:rPr>
              <a:t>3</a:t>
            </a:r>
            <a:r>
              <a:rPr lang="ja-JP" altLang="en-US" sz="1100" dirty="0">
                <a:solidFill>
                  <a:prstClr val="black"/>
                </a:solidFill>
              </a:rPr>
              <a:t>倍弱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>
                <a:solidFill>
                  <a:prstClr val="black"/>
                </a:solidFill>
              </a:rPr>
              <a:t> 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46" name="テキスト ボックス 45"/>
          <p:cNvSpPr txBox="1"/>
          <p:nvPr/>
        </p:nvSpPr>
        <p:spPr>
          <a:xfrm>
            <a:off x="5075124" y="5681592"/>
            <a:ext cx="1413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100" dirty="0">
                <a:solidFill>
                  <a:prstClr val="black"/>
                </a:solidFill>
              </a:rPr>
              <a:t>（</a:t>
            </a:r>
            <a:r>
              <a:rPr lang="en-US" altLang="ja-JP" sz="1100" dirty="0">
                <a:solidFill>
                  <a:prstClr val="black"/>
                </a:solidFill>
              </a:rPr>
              <a:t>2015</a:t>
            </a:r>
            <a:r>
              <a:rPr lang="ja-JP" altLang="en-US" sz="1100" dirty="0">
                <a:solidFill>
                  <a:prstClr val="black"/>
                </a:solidFill>
              </a:rPr>
              <a:t>年の約</a:t>
            </a:r>
            <a:r>
              <a:rPr lang="en-US" altLang="ja-JP" sz="1100" dirty="0">
                <a:solidFill>
                  <a:prstClr val="black"/>
                </a:solidFill>
              </a:rPr>
              <a:t>2</a:t>
            </a:r>
            <a:r>
              <a:rPr lang="ja-JP" altLang="en-US" sz="1100" dirty="0">
                <a:solidFill>
                  <a:prstClr val="black"/>
                </a:solidFill>
              </a:rPr>
              <a:t>倍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>
                <a:solidFill>
                  <a:prstClr val="black"/>
                </a:solidFill>
              </a:rPr>
              <a:t> 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47" name="テキスト ボックス 46"/>
          <p:cNvSpPr txBox="1"/>
          <p:nvPr/>
        </p:nvSpPr>
        <p:spPr>
          <a:xfrm>
            <a:off x="8173445" y="5026176"/>
            <a:ext cx="1413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100" dirty="0">
                <a:solidFill>
                  <a:prstClr val="black"/>
                </a:solidFill>
              </a:rPr>
              <a:t>（</a:t>
            </a:r>
            <a:r>
              <a:rPr lang="en-US" altLang="ja-JP" sz="1100" dirty="0">
                <a:solidFill>
                  <a:prstClr val="black"/>
                </a:solidFill>
              </a:rPr>
              <a:t>2015</a:t>
            </a:r>
            <a:r>
              <a:rPr lang="ja-JP" altLang="en-US" sz="1100" dirty="0">
                <a:solidFill>
                  <a:prstClr val="black"/>
                </a:solidFill>
              </a:rPr>
              <a:t>年の</a:t>
            </a:r>
            <a:r>
              <a:rPr lang="en-US" altLang="ja-JP" sz="1100" dirty="0">
                <a:solidFill>
                  <a:prstClr val="black"/>
                </a:solidFill>
              </a:rPr>
              <a:t>5</a:t>
            </a:r>
            <a:r>
              <a:rPr lang="ja-JP" altLang="en-US" sz="1100" dirty="0">
                <a:solidFill>
                  <a:prstClr val="black"/>
                </a:solidFill>
              </a:rPr>
              <a:t>倍超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>
                <a:solidFill>
                  <a:prstClr val="black"/>
                </a:solidFill>
              </a:rPr>
              <a:t> 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48" name="テキスト ボックス 47"/>
          <p:cNvSpPr txBox="1"/>
          <p:nvPr/>
        </p:nvSpPr>
        <p:spPr>
          <a:xfrm>
            <a:off x="7878699" y="5686640"/>
            <a:ext cx="141364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100" dirty="0">
                <a:solidFill>
                  <a:prstClr val="black"/>
                </a:solidFill>
              </a:rPr>
              <a:t>（</a:t>
            </a:r>
            <a:r>
              <a:rPr lang="en-US" altLang="ja-JP" sz="1100" dirty="0">
                <a:solidFill>
                  <a:prstClr val="black"/>
                </a:solidFill>
              </a:rPr>
              <a:t>2015</a:t>
            </a:r>
            <a:r>
              <a:rPr lang="ja-JP" altLang="en-US" sz="1100" dirty="0">
                <a:solidFill>
                  <a:prstClr val="black"/>
                </a:solidFill>
              </a:rPr>
              <a:t>年の約</a:t>
            </a:r>
            <a:r>
              <a:rPr lang="en-US" altLang="ja-JP" sz="1100" dirty="0">
                <a:solidFill>
                  <a:prstClr val="black"/>
                </a:solidFill>
              </a:rPr>
              <a:t>3</a:t>
            </a:r>
            <a:r>
              <a:rPr lang="ja-JP" altLang="en-US" sz="1100" dirty="0">
                <a:solidFill>
                  <a:prstClr val="black"/>
                </a:solidFill>
              </a:rPr>
              <a:t>倍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>
                <a:solidFill>
                  <a:prstClr val="black"/>
                </a:solidFill>
              </a:rPr>
              <a:t> 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49" name="テキスト ボックス 48"/>
          <p:cNvSpPr txBox="1"/>
          <p:nvPr/>
        </p:nvSpPr>
        <p:spPr>
          <a:xfrm>
            <a:off x="4536682" y="6328620"/>
            <a:ext cx="234513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100" dirty="0">
                <a:solidFill>
                  <a:prstClr val="black"/>
                </a:solidFill>
              </a:rPr>
              <a:t>（最近</a:t>
            </a:r>
            <a:r>
              <a:rPr lang="en-US" altLang="ja-JP" sz="1100" dirty="0">
                <a:solidFill>
                  <a:prstClr val="black"/>
                </a:solidFill>
              </a:rPr>
              <a:t>5</a:t>
            </a:r>
            <a:r>
              <a:rPr lang="ja-JP" altLang="en-US" sz="1100" dirty="0">
                <a:solidFill>
                  <a:prstClr val="black"/>
                </a:solidFill>
              </a:rPr>
              <a:t>年間の平均から約</a:t>
            </a:r>
            <a:r>
              <a:rPr lang="en-US" altLang="ja-JP" sz="1100" dirty="0">
                <a:solidFill>
                  <a:prstClr val="black"/>
                </a:solidFill>
              </a:rPr>
              <a:t>5</a:t>
            </a:r>
            <a:r>
              <a:rPr lang="ja-JP" altLang="en-US" sz="1100" dirty="0">
                <a:solidFill>
                  <a:prstClr val="black"/>
                </a:solidFill>
              </a:rPr>
              <a:t>％増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>
                <a:solidFill>
                  <a:prstClr val="black"/>
                </a:solidFill>
              </a:rPr>
              <a:t> 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50" name="テキスト ボックス 49"/>
          <p:cNvSpPr txBox="1"/>
          <p:nvPr/>
        </p:nvSpPr>
        <p:spPr>
          <a:xfrm>
            <a:off x="7467614" y="6320858"/>
            <a:ext cx="246357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1100" dirty="0">
                <a:solidFill>
                  <a:prstClr val="black"/>
                </a:solidFill>
              </a:rPr>
              <a:t>（最近</a:t>
            </a:r>
            <a:r>
              <a:rPr lang="en-US" altLang="ja-JP" sz="1100" dirty="0">
                <a:solidFill>
                  <a:prstClr val="black"/>
                </a:solidFill>
              </a:rPr>
              <a:t>5</a:t>
            </a:r>
            <a:r>
              <a:rPr lang="ja-JP" altLang="en-US" sz="1100" dirty="0">
                <a:solidFill>
                  <a:prstClr val="black"/>
                </a:solidFill>
              </a:rPr>
              <a:t>年間の平均から約</a:t>
            </a:r>
            <a:r>
              <a:rPr lang="en-US" altLang="ja-JP" sz="1100" dirty="0">
                <a:solidFill>
                  <a:prstClr val="black"/>
                </a:solidFill>
              </a:rPr>
              <a:t>10</a:t>
            </a:r>
            <a:r>
              <a:rPr lang="ja-JP" altLang="en-US" sz="1100" dirty="0">
                <a:solidFill>
                  <a:prstClr val="black"/>
                </a:solidFill>
              </a:rPr>
              <a:t>％増</a:t>
            </a:r>
            <a:r>
              <a:rPr lang="ja-JP" altLang="en-US" sz="1100" dirty="0" smtClean="0">
                <a:solidFill>
                  <a:prstClr val="black"/>
                </a:solidFill>
              </a:rPr>
              <a:t>）</a:t>
            </a:r>
            <a:r>
              <a:rPr lang="en-US" altLang="ja-JP" sz="1100" dirty="0">
                <a:solidFill>
                  <a:prstClr val="black"/>
                </a:solidFill>
              </a:rPr>
              <a:t> ※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51" name="正方形/長方形 50"/>
          <p:cNvSpPr/>
          <p:nvPr/>
        </p:nvSpPr>
        <p:spPr>
          <a:xfrm>
            <a:off x="433886" y="1039089"/>
            <a:ext cx="9048481" cy="1847014"/>
          </a:xfrm>
          <a:prstGeom prst="rect">
            <a:avLst/>
          </a:prstGeom>
          <a:noFill/>
          <a:ln w="28575">
            <a:solidFill>
              <a:srgbClr val="00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50">
              <a:solidFill>
                <a:prstClr val="white"/>
              </a:solidFill>
            </a:endParaRPr>
          </a:p>
        </p:txBody>
      </p:sp>
      <p:sp>
        <p:nvSpPr>
          <p:cNvPr id="52" name="正方形/長方形 51"/>
          <p:cNvSpPr/>
          <p:nvPr/>
        </p:nvSpPr>
        <p:spPr>
          <a:xfrm>
            <a:off x="381000" y="675145"/>
            <a:ext cx="9144000" cy="37872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2000" dirty="0">
                <a:solidFill>
                  <a:srgbClr val="0066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安倍</a:t>
            </a:r>
            <a:r>
              <a:rPr lang="ja-JP" altLang="en-US" sz="2000" dirty="0" smtClean="0">
                <a:solidFill>
                  <a:srgbClr val="0066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内閣５年間</a:t>
            </a:r>
            <a:r>
              <a:rPr lang="ja-JP" altLang="en-US" sz="2000" dirty="0">
                <a:solidFill>
                  <a:srgbClr val="0066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成果</a:t>
            </a:r>
          </a:p>
        </p:txBody>
      </p:sp>
      <p:sp>
        <p:nvSpPr>
          <p:cNvPr id="53" name="右矢印 52"/>
          <p:cNvSpPr/>
          <p:nvPr/>
        </p:nvSpPr>
        <p:spPr>
          <a:xfrm rot="5400000">
            <a:off x="4894329" y="1144828"/>
            <a:ext cx="216200" cy="1484276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sz="1350">
              <a:solidFill>
                <a:prstClr val="white"/>
              </a:solidFill>
            </a:endParaRPr>
          </a:p>
        </p:txBody>
      </p:sp>
      <p:sp>
        <p:nvSpPr>
          <p:cNvPr id="54" name="正方形/長方形 53"/>
          <p:cNvSpPr/>
          <p:nvPr/>
        </p:nvSpPr>
        <p:spPr>
          <a:xfrm>
            <a:off x="505537" y="1146486"/>
            <a:ext cx="9387953" cy="3738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戦略的なビザ緩和、免税制度の拡充、出入国管理体制の充実、航空ネットワーク拡大</a:t>
            </a:r>
            <a:endParaRPr lang="en-US" altLang="ja-JP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など、</a:t>
            </a:r>
            <a:r>
              <a:rPr lang="ja-JP" altLang="en-US" b="1" u="sng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大胆な「改革」</a:t>
            </a:r>
            <a:r>
              <a:rPr lang="ja-JP" altLang="en-US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を断行。</a:t>
            </a:r>
            <a:endParaRPr lang="en-US" altLang="ja-JP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5" name="正方形/長方形 54"/>
          <p:cNvSpPr/>
          <p:nvPr/>
        </p:nvSpPr>
        <p:spPr>
          <a:xfrm>
            <a:off x="464592" y="1985379"/>
            <a:ext cx="9411864" cy="685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ja-JP" altLang="en-US" sz="20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ja-JP" altLang="en-US" sz="2000" b="1" u="sng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訪日外国人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旅行者数</a:t>
            </a:r>
            <a:r>
              <a:rPr lang="ja-JP" altLang="en-US" sz="2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は</a:t>
            </a:r>
            <a:r>
              <a:rPr lang="ja-JP" altLang="en-US" sz="20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、</a:t>
            </a:r>
            <a:r>
              <a:rPr lang="ja-JP" altLang="en-US" sz="2000" b="1" u="sng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約</a:t>
            </a:r>
            <a:r>
              <a:rPr lang="en-US" altLang="ja-JP" sz="2000" b="1" u="sng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3.5</a:t>
            </a:r>
            <a:r>
              <a:rPr lang="ja-JP" altLang="en-US" sz="2000" b="1" u="sng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倍増</a:t>
            </a:r>
            <a:r>
              <a:rPr lang="ja-JP" altLang="en-US" sz="20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</a:t>
            </a:r>
            <a:r>
              <a:rPr lang="en-US" altLang="ja-JP" sz="2000" b="1" u="sng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,869</a:t>
            </a:r>
            <a:r>
              <a:rPr lang="ja-JP" altLang="en-US" sz="2000" b="1" u="sng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万人</a:t>
            </a:r>
            <a:r>
              <a:rPr lang="ja-JP" altLang="en-US" sz="2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に</a:t>
            </a:r>
            <a:endParaRPr lang="en-US" altLang="ja-JP" sz="12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en-US" altLang="ja-JP" sz="800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2000" b="1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ja-JP" altLang="en-US" sz="2000" b="1" u="sng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訪日外国人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旅行消費額</a:t>
            </a:r>
            <a:r>
              <a:rPr lang="ja-JP" altLang="en-US" sz="20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は</a:t>
            </a:r>
            <a:r>
              <a:rPr lang="ja-JP" altLang="en-US" sz="20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、</a:t>
            </a:r>
            <a:r>
              <a:rPr lang="ja-JP" altLang="en-US" sz="2000" b="1" u="sng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約４倍増</a:t>
            </a:r>
            <a:r>
              <a:rPr lang="ja-JP" altLang="en-US" sz="20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の</a:t>
            </a:r>
            <a:r>
              <a:rPr lang="ja-JP" altLang="en-US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４</a:t>
            </a:r>
            <a:r>
              <a:rPr lang="en-US" altLang="ja-JP" sz="2000" b="1" u="sng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.</a:t>
            </a:r>
            <a:r>
              <a:rPr lang="ja-JP" altLang="en-US" sz="2000" b="1" u="sng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４兆円</a:t>
            </a:r>
            <a:r>
              <a:rPr lang="ja-JP" altLang="en-US" sz="20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に</a:t>
            </a:r>
            <a:endParaRPr lang="en-US" altLang="ja-JP" sz="12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6" name="正方形/長方形 55"/>
          <p:cNvSpPr/>
          <p:nvPr/>
        </p:nvSpPr>
        <p:spPr>
          <a:xfrm>
            <a:off x="6458320" y="1673841"/>
            <a:ext cx="3394312" cy="12399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ja-JP" altLang="en-US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（</a:t>
            </a:r>
            <a:r>
              <a:rPr lang="en-US" altLang="ja-JP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12</a:t>
            </a:r>
            <a:r>
              <a:rPr lang="ja-JP" altLang="en-US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） 　（</a:t>
            </a:r>
            <a:r>
              <a:rPr lang="en-US" altLang="ja-JP" sz="12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017</a:t>
            </a:r>
            <a:r>
              <a:rPr lang="ja-JP" altLang="en-US" sz="12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年）</a:t>
            </a:r>
            <a:endParaRPr lang="en-US" altLang="ja-JP" sz="12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/>
            <a:endParaRPr lang="en-US" altLang="ja-JP" sz="12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/>
            <a:r>
              <a:rPr lang="en-US" altLang="ja-JP" sz="12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 836</a:t>
            </a:r>
            <a:r>
              <a:rPr lang="ja-JP" altLang="en-US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万人　</a:t>
            </a:r>
            <a:r>
              <a:rPr lang="ja-JP" altLang="en-US" sz="12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⇒</a:t>
            </a:r>
            <a:r>
              <a:rPr lang="ja-JP" altLang="en-US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　</a:t>
            </a:r>
            <a:r>
              <a:rPr lang="en-US" altLang="ja-JP" sz="12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2,869</a:t>
            </a:r>
            <a:r>
              <a:rPr lang="ja-JP" altLang="en-US" sz="12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万人</a:t>
            </a:r>
            <a:endParaRPr lang="en-US" altLang="ja-JP" sz="12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/>
            <a:endParaRPr lang="en-US" altLang="ja-JP" sz="800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/>
            <a:endParaRPr lang="en-US" altLang="ja-JP" sz="800" b="1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/>
            <a:r>
              <a:rPr lang="ja-JP" altLang="en-US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１兆</a:t>
            </a:r>
            <a:r>
              <a:rPr lang="en-US" altLang="ja-JP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846</a:t>
            </a:r>
            <a:r>
              <a:rPr lang="ja-JP" altLang="en-US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億円　⇒　</a:t>
            </a:r>
            <a:r>
              <a:rPr lang="en-US" altLang="ja-JP" sz="12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4</a:t>
            </a:r>
            <a:r>
              <a:rPr lang="ja-JP" altLang="en-US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兆</a:t>
            </a:r>
            <a:r>
              <a:rPr lang="en-US" altLang="ja-JP" sz="12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4,162</a:t>
            </a:r>
            <a:r>
              <a:rPr lang="ja-JP" altLang="en-US" sz="1200" dirty="0" smtClean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億</a:t>
            </a:r>
            <a:r>
              <a:rPr lang="ja-JP" altLang="en-US" sz="1200" dirty="0">
                <a:solidFill>
                  <a:prstClr val="black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円</a:t>
            </a:r>
            <a:endParaRPr lang="en-US" altLang="ja-JP" sz="1200" dirty="0">
              <a:solidFill>
                <a:prstClr val="black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57" name="テキスト ボックス 56"/>
          <p:cNvSpPr txBox="1"/>
          <p:nvPr/>
        </p:nvSpPr>
        <p:spPr>
          <a:xfrm>
            <a:off x="5817096" y="6613730"/>
            <a:ext cx="365685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100" dirty="0" smtClean="0">
                <a:solidFill>
                  <a:prstClr val="black"/>
                </a:solidFill>
              </a:rPr>
              <a:t>※ </a:t>
            </a:r>
            <a:r>
              <a:rPr lang="ja-JP" altLang="en-US" sz="1100" dirty="0" smtClean="0">
                <a:solidFill>
                  <a:prstClr val="black"/>
                </a:solidFill>
              </a:rPr>
              <a:t>（）内は観光ビジョン策定時である</a:t>
            </a:r>
            <a:r>
              <a:rPr lang="en-US" altLang="ja-JP" sz="1100" dirty="0" smtClean="0">
                <a:solidFill>
                  <a:prstClr val="black"/>
                </a:solidFill>
              </a:rPr>
              <a:t>2015</a:t>
            </a:r>
            <a:r>
              <a:rPr lang="ja-JP" altLang="en-US" sz="1100" dirty="0" smtClean="0">
                <a:solidFill>
                  <a:prstClr val="black"/>
                </a:solidFill>
              </a:rPr>
              <a:t>年時点との比較</a:t>
            </a:r>
            <a:endParaRPr lang="ja-JP" altLang="en-US" sz="1100" dirty="0">
              <a:solidFill>
                <a:prstClr val="black"/>
              </a:solidFill>
            </a:endParaRP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2"/>
          </p:nvPr>
        </p:nvSpPr>
        <p:spPr>
          <a:xfrm>
            <a:off x="6986134" y="6438895"/>
            <a:ext cx="2856519" cy="365125"/>
          </a:xfrm>
        </p:spPr>
        <p:txBody>
          <a:bodyPr/>
          <a:lstStyle/>
          <a:p>
            <a:fld id="{19941115-D62C-4B4F-813F-A093971866FD}" type="slidenum">
              <a:rPr lang="ja-JP" altLang="en-US" sz="1600" smtClean="0">
                <a:solidFill>
                  <a:prstClr val="black"/>
                </a:solidFill>
              </a:rPr>
              <a:pPr/>
              <a:t>2</a:t>
            </a:fld>
            <a:endParaRPr lang="ja-JP" altLang="en-US" sz="16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139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3" name="図 18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744" b="80818"/>
          <a:stretch/>
        </p:blipFill>
        <p:spPr>
          <a:xfrm rot="21202916">
            <a:off x="247706" y="2786084"/>
            <a:ext cx="3898670" cy="1045075"/>
          </a:xfrm>
          <a:prstGeom prst="rect">
            <a:avLst/>
          </a:prstGeom>
        </p:spPr>
      </p:pic>
      <p:pic>
        <p:nvPicPr>
          <p:cNvPr id="182" name="図 181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818"/>
          <a:stretch/>
        </p:blipFill>
        <p:spPr>
          <a:xfrm rot="21212766">
            <a:off x="3726785" y="2092931"/>
            <a:ext cx="400659" cy="1015821"/>
          </a:xfrm>
          <a:prstGeom prst="rect">
            <a:avLst/>
          </a:prstGeom>
        </p:spPr>
      </p:pic>
      <p:pic>
        <p:nvPicPr>
          <p:cNvPr id="180" name="図 17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818"/>
          <a:stretch/>
        </p:blipFill>
        <p:spPr>
          <a:xfrm>
            <a:off x="44845" y="2851640"/>
            <a:ext cx="400659" cy="1153424"/>
          </a:xfrm>
          <a:prstGeom prst="rect">
            <a:avLst/>
          </a:prstGeom>
        </p:spPr>
      </p:pic>
      <p:pic>
        <p:nvPicPr>
          <p:cNvPr id="8" name="図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744" b="80818"/>
          <a:stretch/>
        </p:blipFill>
        <p:spPr>
          <a:xfrm rot="20940205">
            <a:off x="100002" y="2468337"/>
            <a:ext cx="3668793" cy="1029139"/>
          </a:xfrm>
          <a:prstGeom prst="rect">
            <a:avLst/>
          </a:prstGeom>
        </p:spPr>
      </p:pic>
      <p:sp>
        <p:nvSpPr>
          <p:cNvPr id="112" name="角丸四角形 111"/>
          <p:cNvSpPr/>
          <p:nvPr/>
        </p:nvSpPr>
        <p:spPr bwMode="auto">
          <a:xfrm>
            <a:off x="56456" y="653319"/>
            <a:ext cx="4040572" cy="2520000"/>
          </a:xfrm>
          <a:prstGeom prst="roundRect">
            <a:avLst>
              <a:gd name="adj" fmla="val 8365"/>
            </a:avLst>
          </a:prstGeom>
          <a:solidFill>
            <a:schemeClr val="bg1">
              <a:alpha val="65000"/>
            </a:schemeClr>
          </a:solidFill>
          <a:ln w="38100">
            <a:solidFill>
              <a:srgbClr val="0070C0"/>
            </a:solidFill>
            <a:prstDash val="solid"/>
            <a:round/>
            <a:headEnd/>
            <a:tailEnd/>
          </a:ln>
          <a:effectLst/>
        </p:spPr>
        <p:txBody>
          <a:bodyPr wrap="square" lIns="91422" tIns="45710" rIns="91422" bIns="45710" rtlCol="0" anchor="t" anchorCtr="0">
            <a:noAutofit/>
          </a:bodyPr>
          <a:lstStyle/>
          <a:p>
            <a:pPr marL="1338263" algn="ctr">
              <a:lnSpc>
                <a:spcPct val="130000"/>
              </a:lnSpc>
              <a:tabLst>
                <a:tab pos="3136900" algn="ctr"/>
              </a:tabLst>
            </a:pPr>
            <a:endParaRPr lang="ja-JP" altLang="en-US" sz="1200" dirty="0" smtClean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grpSp>
        <p:nvGrpSpPr>
          <p:cNvPr id="42" name="Group 72"/>
          <p:cNvGrpSpPr>
            <a:grpSpLocks/>
          </p:cNvGrpSpPr>
          <p:nvPr/>
        </p:nvGrpSpPr>
        <p:grpSpPr bwMode="auto">
          <a:xfrm rot="806058">
            <a:off x="1051765" y="777914"/>
            <a:ext cx="7600666" cy="6401738"/>
            <a:chOff x="1212" y="391"/>
            <a:chExt cx="3440" cy="3929"/>
          </a:xfrm>
        </p:grpSpPr>
        <p:sp>
          <p:nvSpPr>
            <p:cNvPr id="43" name="Freeform 73"/>
            <p:cNvSpPr>
              <a:spLocks/>
            </p:cNvSpPr>
            <p:nvPr/>
          </p:nvSpPr>
          <p:spPr bwMode="auto">
            <a:xfrm>
              <a:off x="1706" y="1492"/>
              <a:ext cx="2276" cy="2123"/>
            </a:xfrm>
            <a:custGeom>
              <a:avLst/>
              <a:gdLst>
                <a:gd name="T0" fmla="*/ 171299632 w 1841"/>
                <a:gd name="T1" fmla="*/ 1097 h 2086"/>
                <a:gd name="T2" fmla="*/ 171955871 w 1841"/>
                <a:gd name="T3" fmla="*/ 1313 h 2086"/>
                <a:gd name="T4" fmla="*/ 170151410 w 1841"/>
                <a:gd name="T5" fmla="*/ 1438 h 2086"/>
                <a:gd name="T6" fmla="*/ 168044703 w 1841"/>
                <a:gd name="T7" fmla="*/ 1715 h 2086"/>
                <a:gd name="T8" fmla="*/ 167292409 w 1841"/>
                <a:gd name="T9" fmla="*/ 1791 h 2086"/>
                <a:gd name="T10" fmla="*/ 161244190 w 1841"/>
                <a:gd name="T11" fmla="*/ 1942 h 2086"/>
                <a:gd name="T12" fmla="*/ 166387093 w 1841"/>
                <a:gd name="T13" fmla="*/ 2500 h 2086"/>
                <a:gd name="T14" fmla="*/ 164660528 w 1841"/>
                <a:gd name="T15" fmla="*/ 3095 h 2086"/>
                <a:gd name="T16" fmla="*/ 170151410 w 1841"/>
                <a:gd name="T17" fmla="*/ 3466 h 2086"/>
                <a:gd name="T18" fmla="*/ 165698848 w 1841"/>
                <a:gd name="T19" fmla="*/ 3835 h 2086"/>
                <a:gd name="T20" fmla="*/ 157320678 w 1841"/>
                <a:gd name="T21" fmla="*/ 3898 h 2086"/>
                <a:gd name="T22" fmla="*/ 160723645 w 1841"/>
                <a:gd name="T23" fmla="*/ 3553 h 2086"/>
                <a:gd name="T24" fmla="*/ 152876622 w 1841"/>
                <a:gd name="T25" fmla="*/ 3762 h 2086"/>
                <a:gd name="T26" fmla="*/ 149494702 w 1841"/>
                <a:gd name="T27" fmla="*/ 3835 h 2086"/>
                <a:gd name="T28" fmla="*/ 146181302 w 1841"/>
                <a:gd name="T29" fmla="*/ 4098 h 2086"/>
                <a:gd name="T30" fmla="*/ 141629956 w 1841"/>
                <a:gd name="T31" fmla="*/ 4318 h 2086"/>
                <a:gd name="T32" fmla="*/ 139379879 w 1841"/>
                <a:gd name="T33" fmla="*/ 4014 h 2086"/>
                <a:gd name="T34" fmla="*/ 132059572 w 1841"/>
                <a:gd name="T35" fmla="*/ 4281 h 2086"/>
                <a:gd name="T36" fmla="*/ 120307553 w 1841"/>
                <a:gd name="T37" fmla="*/ 4392 h 2086"/>
                <a:gd name="T38" fmla="*/ 115803364 w 1841"/>
                <a:gd name="T39" fmla="*/ 4378 h 2086"/>
                <a:gd name="T40" fmla="*/ 108995848 w 1841"/>
                <a:gd name="T41" fmla="*/ 4330 h 2086"/>
                <a:gd name="T42" fmla="*/ 104566429 w 1841"/>
                <a:gd name="T43" fmla="*/ 4252 h 2086"/>
                <a:gd name="T44" fmla="*/ 102885953 w 1841"/>
                <a:gd name="T45" fmla="*/ 4573 h 2086"/>
                <a:gd name="T46" fmla="*/ 107389588 w 1841"/>
                <a:gd name="T47" fmla="*/ 4742 h 2086"/>
                <a:gd name="T48" fmla="*/ 97811293 w 1841"/>
                <a:gd name="T49" fmla="*/ 4875 h 2086"/>
                <a:gd name="T50" fmla="*/ 92213714 w 1841"/>
                <a:gd name="T51" fmla="*/ 5298 h 2086"/>
                <a:gd name="T52" fmla="*/ 78714815 w 1841"/>
                <a:gd name="T53" fmla="*/ 5120 h 2086"/>
                <a:gd name="T54" fmla="*/ 77494197 w 1841"/>
                <a:gd name="T55" fmla="*/ 4898 h 2086"/>
                <a:gd name="T56" fmla="*/ 80598279 w 1841"/>
                <a:gd name="T57" fmla="*/ 4625 h 2086"/>
                <a:gd name="T58" fmla="*/ 65288095 w 1841"/>
                <a:gd name="T59" fmla="*/ 4637 h 2086"/>
                <a:gd name="T60" fmla="*/ 52228383 w 1841"/>
                <a:gd name="T61" fmla="*/ 4898 h 2086"/>
                <a:gd name="T62" fmla="*/ 39425729 w 1841"/>
                <a:gd name="T63" fmla="*/ 4987 h 2086"/>
                <a:gd name="T64" fmla="*/ 27080669 w 1841"/>
                <a:gd name="T65" fmla="*/ 5059 h 2086"/>
                <a:gd name="T66" fmla="*/ 22528591 w 1841"/>
                <a:gd name="T67" fmla="*/ 5315 h 2086"/>
                <a:gd name="T68" fmla="*/ 8932053 w 1841"/>
                <a:gd name="T69" fmla="*/ 5358 h 2086"/>
                <a:gd name="T70" fmla="*/ 1244898 w 1841"/>
                <a:gd name="T71" fmla="*/ 5286 h 2086"/>
                <a:gd name="T72" fmla="*/ 3954578 w 1841"/>
                <a:gd name="T73" fmla="*/ 5148 h 2086"/>
                <a:gd name="T74" fmla="*/ 18084837 w 1841"/>
                <a:gd name="T75" fmla="*/ 4796 h 2086"/>
                <a:gd name="T76" fmla="*/ 27498118 w 1841"/>
                <a:gd name="T77" fmla="*/ 4392 h 2086"/>
                <a:gd name="T78" fmla="*/ 38309513 w 1841"/>
                <a:gd name="T79" fmla="*/ 4318 h 2086"/>
                <a:gd name="T80" fmla="*/ 61797421 w 1841"/>
                <a:gd name="T81" fmla="*/ 4098 h 2086"/>
                <a:gd name="T82" fmla="*/ 74132928 w 1841"/>
                <a:gd name="T83" fmla="*/ 4110 h 2086"/>
                <a:gd name="T84" fmla="*/ 79350047 w 1841"/>
                <a:gd name="T85" fmla="*/ 4126 h 2086"/>
                <a:gd name="T86" fmla="*/ 85900712 w 1841"/>
                <a:gd name="T87" fmla="*/ 3959 h 2086"/>
                <a:gd name="T88" fmla="*/ 85900712 w 1841"/>
                <a:gd name="T89" fmla="*/ 3707 h 2086"/>
                <a:gd name="T90" fmla="*/ 93278620 w 1841"/>
                <a:gd name="T91" fmla="*/ 2959 h 2086"/>
                <a:gd name="T92" fmla="*/ 101620156 w 1841"/>
                <a:gd name="T93" fmla="*/ 2789 h 2086"/>
                <a:gd name="T94" fmla="*/ 97811293 w 1841"/>
                <a:gd name="T95" fmla="*/ 3087 h 2086"/>
                <a:gd name="T96" fmla="*/ 108995848 w 1841"/>
                <a:gd name="T97" fmla="*/ 3049 h 2086"/>
                <a:gd name="T98" fmla="*/ 125907031 w 1841"/>
                <a:gd name="T99" fmla="*/ 2483 h 2086"/>
                <a:gd name="T100" fmla="*/ 136062364 w 1841"/>
                <a:gd name="T101" fmla="*/ 1853 h 2086"/>
                <a:gd name="T102" fmla="*/ 138150716 w 1841"/>
                <a:gd name="T103" fmla="*/ 1188 h 2086"/>
                <a:gd name="T104" fmla="*/ 130964600 w 1841"/>
                <a:gd name="T105" fmla="*/ 1033 h 2086"/>
                <a:gd name="T106" fmla="*/ 129703076 w 1841"/>
                <a:gd name="T107" fmla="*/ 649 h 2086"/>
                <a:gd name="T108" fmla="*/ 134889536 w 1841"/>
                <a:gd name="T109" fmla="*/ 375 h 2086"/>
                <a:gd name="T110" fmla="*/ 139379879 w 1841"/>
                <a:gd name="T111" fmla="*/ 250 h 2086"/>
                <a:gd name="T112" fmla="*/ 149494702 w 1841"/>
                <a:gd name="T113" fmla="*/ 389 h 2086"/>
                <a:gd name="T114" fmla="*/ 142062754 w 1841"/>
                <a:gd name="T115" fmla="*/ 0 h 2086"/>
                <a:gd name="T116" fmla="*/ 153324612 w 1841"/>
                <a:gd name="T117" fmla="*/ 362 h 2086"/>
                <a:gd name="T118" fmla="*/ 158909452 w 1841"/>
                <a:gd name="T119" fmla="*/ 538 h 208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841"/>
                <a:gd name="T181" fmla="*/ 0 h 2086"/>
                <a:gd name="T182" fmla="*/ 1841 w 1841"/>
                <a:gd name="T183" fmla="*/ 2086 h 208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841" h="2086">
                  <a:moveTo>
                    <a:pt x="1788" y="334"/>
                  </a:moveTo>
                  <a:lnTo>
                    <a:pt x="1800" y="347"/>
                  </a:lnTo>
                  <a:lnTo>
                    <a:pt x="1805" y="370"/>
                  </a:lnTo>
                  <a:lnTo>
                    <a:pt x="1805" y="383"/>
                  </a:lnTo>
                  <a:lnTo>
                    <a:pt x="1800" y="395"/>
                  </a:lnTo>
                  <a:lnTo>
                    <a:pt x="1817" y="383"/>
                  </a:lnTo>
                  <a:lnTo>
                    <a:pt x="1817" y="395"/>
                  </a:lnTo>
                  <a:lnTo>
                    <a:pt x="1823" y="395"/>
                  </a:lnTo>
                  <a:lnTo>
                    <a:pt x="1818" y="406"/>
                  </a:lnTo>
                  <a:lnTo>
                    <a:pt x="1817" y="424"/>
                  </a:lnTo>
                  <a:lnTo>
                    <a:pt x="1830" y="419"/>
                  </a:lnTo>
                  <a:lnTo>
                    <a:pt x="1836" y="424"/>
                  </a:lnTo>
                  <a:lnTo>
                    <a:pt x="1811" y="437"/>
                  </a:lnTo>
                  <a:lnTo>
                    <a:pt x="1823" y="448"/>
                  </a:lnTo>
                  <a:lnTo>
                    <a:pt x="1817" y="465"/>
                  </a:lnTo>
                  <a:lnTo>
                    <a:pt x="1830" y="465"/>
                  </a:lnTo>
                  <a:lnTo>
                    <a:pt x="1830" y="478"/>
                  </a:lnTo>
                  <a:lnTo>
                    <a:pt x="1817" y="490"/>
                  </a:lnTo>
                  <a:lnTo>
                    <a:pt x="1823" y="501"/>
                  </a:lnTo>
                  <a:lnTo>
                    <a:pt x="1823" y="508"/>
                  </a:lnTo>
                  <a:lnTo>
                    <a:pt x="1817" y="508"/>
                  </a:lnTo>
                  <a:lnTo>
                    <a:pt x="1817" y="520"/>
                  </a:lnTo>
                  <a:lnTo>
                    <a:pt x="1823" y="524"/>
                  </a:lnTo>
                  <a:lnTo>
                    <a:pt x="1818" y="526"/>
                  </a:lnTo>
                  <a:lnTo>
                    <a:pt x="1811" y="532"/>
                  </a:lnTo>
                  <a:lnTo>
                    <a:pt x="1805" y="526"/>
                  </a:lnTo>
                  <a:lnTo>
                    <a:pt x="1800" y="524"/>
                  </a:lnTo>
                  <a:lnTo>
                    <a:pt x="1800" y="532"/>
                  </a:lnTo>
                  <a:lnTo>
                    <a:pt x="1782" y="537"/>
                  </a:lnTo>
                  <a:lnTo>
                    <a:pt x="1805" y="555"/>
                  </a:lnTo>
                  <a:lnTo>
                    <a:pt x="1811" y="555"/>
                  </a:lnTo>
                  <a:lnTo>
                    <a:pt x="1800" y="573"/>
                  </a:lnTo>
                  <a:lnTo>
                    <a:pt x="1775" y="573"/>
                  </a:lnTo>
                  <a:lnTo>
                    <a:pt x="1782" y="604"/>
                  </a:lnTo>
                  <a:lnTo>
                    <a:pt x="1775" y="615"/>
                  </a:lnTo>
                  <a:lnTo>
                    <a:pt x="1775" y="621"/>
                  </a:lnTo>
                  <a:lnTo>
                    <a:pt x="1782" y="634"/>
                  </a:lnTo>
                  <a:lnTo>
                    <a:pt x="1775" y="645"/>
                  </a:lnTo>
                  <a:lnTo>
                    <a:pt x="1775" y="657"/>
                  </a:lnTo>
                  <a:lnTo>
                    <a:pt x="1782" y="663"/>
                  </a:lnTo>
                  <a:lnTo>
                    <a:pt x="1794" y="651"/>
                  </a:lnTo>
                  <a:lnTo>
                    <a:pt x="1800" y="663"/>
                  </a:lnTo>
                  <a:lnTo>
                    <a:pt x="1788" y="680"/>
                  </a:lnTo>
                  <a:lnTo>
                    <a:pt x="1811" y="699"/>
                  </a:lnTo>
                  <a:lnTo>
                    <a:pt x="1805" y="704"/>
                  </a:lnTo>
                  <a:lnTo>
                    <a:pt x="1805" y="723"/>
                  </a:lnTo>
                  <a:lnTo>
                    <a:pt x="1794" y="704"/>
                  </a:lnTo>
                  <a:lnTo>
                    <a:pt x="1782" y="704"/>
                  </a:lnTo>
                  <a:lnTo>
                    <a:pt x="1782" y="699"/>
                  </a:lnTo>
                  <a:lnTo>
                    <a:pt x="1775" y="693"/>
                  </a:lnTo>
                  <a:lnTo>
                    <a:pt x="1769" y="704"/>
                  </a:lnTo>
                  <a:lnTo>
                    <a:pt x="1758" y="693"/>
                  </a:lnTo>
                  <a:lnTo>
                    <a:pt x="1739" y="704"/>
                  </a:lnTo>
                  <a:lnTo>
                    <a:pt x="1729" y="716"/>
                  </a:lnTo>
                  <a:lnTo>
                    <a:pt x="1729" y="704"/>
                  </a:lnTo>
                  <a:lnTo>
                    <a:pt x="1728" y="699"/>
                  </a:lnTo>
                  <a:lnTo>
                    <a:pt x="1710" y="733"/>
                  </a:lnTo>
                  <a:lnTo>
                    <a:pt x="1722" y="729"/>
                  </a:lnTo>
                  <a:lnTo>
                    <a:pt x="1722" y="740"/>
                  </a:lnTo>
                  <a:lnTo>
                    <a:pt x="1710" y="752"/>
                  </a:lnTo>
                  <a:lnTo>
                    <a:pt x="1705" y="782"/>
                  </a:lnTo>
                  <a:lnTo>
                    <a:pt x="1710" y="794"/>
                  </a:lnTo>
                  <a:lnTo>
                    <a:pt x="1716" y="812"/>
                  </a:lnTo>
                  <a:lnTo>
                    <a:pt x="1728" y="830"/>
                  </a:lnTo>
                  <a:lnTo>
                    <a:pt x="1739" y="854"/>
                  </a:lnTo>
                  <a:lnTo>
                    <a:pt x="1739" y="871"/>
                  </a:lnTo>
                  <a:lnTo>
                    <a:pt x="1752" y="884"/>
                  </a:lnTo>
                  <a:lnTo>
                    <a:pt x="1758" y="907"/>
                  </a:lnTo>
                  <a:lnTo>
                    <a:pt x="1765" y="949"/>
                  </a:lnTo>
                  <a:lnTo>
                    <a:pt x="1765" y="966"/>
                  </a:lnTo>
                  <a:lnTo>
                    <a:pt x="1769" y="978"/>
                  </a:lnTo>
                  <a:lnTo>
                    <a:pt x="1775" y="1002"/>
                  </a:lnTo>
                  <a:lnTo>
                    <a:pt x="1775" y="1014"/>
                  </a:lnTo>
                  <a:lnTo>
                    <a:pt x="1769" y="1038"/>
                  </a:lnTo>
                  <a:lnTo>
                    <a:pt x="1765" y="1061"/>
                  </a:lnTo>
                  <a:lnTo>
                    <a:pt x="1752" y="1080"/>
                  </a:lnTo>
                  <a:lnTo>
                    <a:pt x="1746" y="1109"/>
                  </a:lnTo>
                  <a:lnTo>
                    <a:pt x="1739" y="1133"/>
                  </a:lnTo>
                  <a:lnTo>
                    <a:pt x="1739" y="1164"/>
                  </a:lnTo>
                  <a:lnTo>
                    <a:pt x="1746" y="1198"/>
                  </a:lnTo>
                  <a:lnTo>
                    <a:pt x="1752" y="1228"/>
                  </a:lnTo>
                  <a:lnTo>
                    <a:pt x="1765" y="1247"/>
                  </a:lnTo>
                  <a:lnTo>
                    <a:pt x="1775" y="1264"/>
                  </a:lnTo>
                  <a:lnTo>
                    <a:pt x="1794" y="1282"/>
                  </a:lnTo>
                  <a:lnTo>
                    <a:pt x="1811" y="1300"/>
                  </a:lnTo>
                  <a:lnTo>
                    <a:pt x="1823" y="1312"/>
                  </a:lnTo>
                  <a:lnTo>
                    <a:pt x="1841" y="1318"/>
                  </a:lnTo>
                  <a:lnTo>
                    <a:pt x="1841" y="1329"/>
                  </a:lnTo>
                  <a:lnTo>
                    <a:pt x="1818" y="1330"/>
                  </a:lnTo>
                  <a:lnTo>
                    <a:pt x="1805" y="1342"/>
                  </a:lnTo>
                  <a:lnTo>
                    <a:pt x="1794" y="1354"/>
                  </a:lnTo>
                  <a:lnTo>
                    <a:pt x="1782" y="1372"/>
                  </a:lnTo>
                  <a:lnTo>
                    <a:pt x="1775" y="1390"/>
                  </a:lnTo>
                  <a:lnTo>
                    <a:pt x="1769" y="1402"/>
                  </a:lnTo>
                  <a:lnTo>
                    <a:pt x="1765" y="1420"/>
                  </a:lnTo>
                  <a:lnTo>
                    <a:pt x="1765" y="1431"/>
                  </a:lnTo>
                  <a:lnTo>
                    <a:pt x="1769" y="1449"/>
                  </a:lnTo>
                  <a:lnTo>
                    <a:pt x="1769" y="1460"/>
                  </a:lnTo>
                  <a:lnTo>
                    <a:pt x="1758" y="1479"/>
                  </a:lnTo>
                  <a:lnTo>
                    <a:pt x="1758" y="1485"/>
                  </a:lnTo>
                  <a:lnTo>
                    <a:pt x="1729" y="1509"/>
                  </a:lnTo>
                  <a:lnTo>
                    <a:pt x="1722" y="1521"/>
                  </a:lnTo>
                  <a:lnTo>
                    <a:pt x="1716" y="1528"/>
                  </a:lnTo>
                  <a:lnTo>
                    <a:pt x="1710" y="1545"/>
                  </a:lnTo>
                  <a:lnTo>
                    <a:pt x="1699" y="1557"/>
                  </a:lnTo>
                  <a:lnTo>
                    <a:pt x="1686" y="1557"/>
                  </a:lnTo>
                  <a:lnTo>
                    <a:pt x="1669" y="1538"/>
                  </a:lnTo>
                  <a:lnTo>
                    <a:pt x="1680" y="1538"/>
                  </a:lnTo>
                  <a:lnTo>
                    <a:pt x="1674" y="1521"/>
                  </a:lnTo>
                  <a:lnTo>
                    <a:pt x="1669" y="1509"/>
                  </a:lnTo>
                  <a:lnTo>
                    <a:pt x="1674" y="1502"/>
                  </a:lnTo>
                  <a:lnTo>
                    <a:pt x="1669" y="1485"/>
                  </a:lnTo>
                  <a:lnTo>
                    <a:pt x="1663" y="1479"/>
                  </a:lnTo>
                  <a:lnTo>
                    <a:pt x="1650" y="1473"/>
                  </a:lnTo>
                  <a:lnTo>
                    <a:pt x="1669" y="1460"/>
                  </a:lnTo>
                  <a:lnTo>
                    <a:pt x="1674" y="1431"/>
                  </a:lnTo>
                  <a:lnTo>
                    <a:pt x="1686" y="1426"/>
                  </a:lnTo>
                  <a:lnTo>
                    <a:pt x="1693" y="1407"/>
                  </a:lnTo>
                  <a:lnTo>
                    <a:pt x="1699" y="1390"/>
                  </a:lnTo>
                  <a:lnTo>
                    <a:pt x="1705" y="1372"/>
                  </a:lnTo>
                  <a:lnTo>
                    <a:pt x="1686" y="1377"/>
                  </a:lnTo>
                  <a:lnTo>
                    <a:pt x="1674" y="1384"/>
                  </a:lnTo>
                  <a:lnTo>
                    <a:pt x="1663" y="1377"/>
                  </a:lnTo>
                  <a:lnTo>
                    <a:pt x="1644" y="1390"/>
                  </a:lnTo>
                  <a:lnTo>
                    <a:pt x="1644" y="1402"/>
                  </a:lnTo>
                  <a:lnTo>
                    <a:pt x="1638" y="1402"/>
                  </a:lnTo>
                  <a:lnTo>
                    <a:pt x="1627" y="1407"/>
                  </a:lnTo>
                  <a:lnTo>
                    <a:pt x="1627" y="1418"/>
                  </a:lnTo>
                  <a:lnTo>
                    <a:pt x="1633" y="1431"/>
                  </a:lnTo>
                  <a:lnTo>
                    <a:pt x="1621" y="1456"/>
                  </a:lnTo>
                  <a:lnTo>
                    <a:pt x="1627" y="1467"/>
                  </a:lnTo>
                  <a:lnTo>
                    <a:pt x="1633" y="1496"/>
                  </a:lnTo>
                  <a:lnTo>
                    <a:pt x="1640" y="1485"/>
                  </a:lnTo>
                  <a:lnTo>
                    <a:pt x="1644" y="1492"/>
                  </a:lnTo>
                  <a:lnTo>
                    <a:pt x="1638" y="1502"/>
                  </a:lnTo>
                  <a:lnTo>
                    <a:pt x="1640" y="1515"/>
                  </a:lnTo>
                  <a:lnTo>
                    <a:pt x="1633" y="1515"/>
                  </a:lnTo>
                  <a:lnTo>
                    <a:pt x="1610" y="1496"/>
                  </a:lnTo>
                  <a:lnTo>
                    <a:pt x="1597" y="1485"/>
                  </a:lnTo>
                  <a:lnTo>
                    <a:pt x="1585" y="1485"/>
                  </a:lnTo>
                  <a:lnTo>
                    <a:pt x="1579" y="1485"/>
                  </a:lnTo>
                  <a:lnTo>
                    <a:pt x="1561" y="1496"/>
                  </a:lnTo>
                  <a:lnTo>
                    <a:pt x="1551" y="1509"/>
                  </a:lnTo>
                  <a:lnTo>
                    <a:pt x="1549" y="1509"/>
                  </a:lnTo>
                  <a:lnTo>
                    <a:pt x="1543" y="1538"/>
                  </a:lnTo>
                  <a:lnTo>
                    <a:pt x="1538" y="1557"/>
                  </a:lnTo>
                  <a:lnTo>
                    <a:pt x="1538" y="1568"/>
                  </a:lnTo>
                  <a:lnTo>
                    <a:pt x="1543" y="1568"/>
                  </a:lnTo>
                  <a:lnTo>
                    <a:pt x="1549" y="1581"/>
                  </a:lnTo>
                  <a:lnTo>
                    <a:pt x="1551" y="1585"/>
                  </a:lnTo>
                  <a:lnTo>
                    <a:pt x="1551" y="1597"/>
                  </a:lnTo>
                  <a:lnTo>
                    <a:pt x="1549" y="1610"/>
                  </a:lnTo>
                  <a:lnTo>
                    <a:pt x="1543" y="1621"/>
                  </a:lnTo>
                  <a:lnTo>
                    <a:pt x="1532" y="1634"/>
                  </a:lnTo>
                  <a:lnTo>
                    <a:pt x="1525" y="1640"/>
                  </a:lnTo>
                  <a:lnTo>
                    <a:pt x="1532" y="1646"/>
                  </a:lnTo>
                  <a:lnTo>
                    <a:pt x="1525" y="1653"/>
                  </a:lnTo>
                  <a:lnTo>
                    <a:pt x="1520" y="1657"/>
                  </a:lnTo>
                  <a:lnTo>
                    <a:pt x="1515" y="1670"/>
                  </a:lnTo>
                  <a:lnTo>
                    <a:pt x="1502" y="1670"/>
                  </a:lnTo>
                  <a:lnTo>
                    <a:pt x="1490" y="1657"/>
                  </a:lnTo>
                  <a:lnTo>
                    <a:pt x="1484" y="1640"/>
                  </a:lnTo>
                  <a:lnTo>
                    <a:pt x="1479" y="1621"/>
                  </a:lnTo>
                  <a:lnTo>
                    <a:pt x="1479" y="1598"/>
                  </a:lnTo>
                  <a:lnTo>
                    <a:pt x="1484" y="1597"/>
                  </a:lnTo>
                  <a:lnTo>
                    <a:pt x="1484" y="1574"/>
                  </a:lnTo>
                  <a:lnTo>
                    <a:pt x="1490" y="1574"/>
                  </a:lnTo>
                  <a:lnTo>
                    <a:pt x="1502" y="1568"/>
                  </a:lnTo>
                  <a:lnTo>
                    <a:pt x="1490" y="1557"/>
                  </a:lnTo>
                  <a:lnTo>
                    <a:pt x="1479" y="1551"/>
                  </a:lnTo>
                  <a:lnTo>
                    <a:pt x="1460" y="1551"/>
                  </a:lnTo>
                  <a:lnTo>
                    <a:pt x="1448" y="1557"/>
                  </a:lnTo>
                  <a:lnTo>
                    <a:pt x="1437" y="1568"/>
                  </a:lnTo>
                  <a:lnTo>
                    <a:pt x="1430" y="1585"/>
                  </a:lnTo>
                  <a:lnTo>
                    <a:pt x="1443" y="1585"/>
                  </a:lnTo>
                  <a:lnTo>
                    <a:pt x="1437" y="1592"/>
                  </a:lnTo>
                  <a:lnTo>
                    <a:pt x="1425" y="1598"/>
                  </a:lnTo>
                  <a:lnTo>
                    <a:pt x="1418" y="1610"/>
                  </a:lnTo>
                  <a:lnTo>
                    <a:pt x="1407" y="1627"/>
                  </a:lnTo>
                  <a:lnTo>
                    <a:pt x="1401" y="1657"/>
                  </a:lnTo>
                  <a:lnTo>
                    <a:pt x="1395" y="1682"/>
                  </a:lnTo>
                  <a:lnTo>
                    <a:pt x="1389" y="1699"/>
                  </a:lnTo>
                  <a:lnTo>
                    <a:pt x="1371" y="1693"/>
                  </a:lnTo>
                  <a:lnTo>
                    <a:pt x="1317" y="1693"/>
                  </a:lnTo>
                  <a:lnTo>
                    <a:pt x="1300" y="1693"/>
                  </a:lnTo>
                  <a:lnTo>
                    <a:pt x="1281" y="1699"/>
                  </a:lnTo>
                  <a:lnTo>
                    <a:pt x="1293" y="1688"/>
                  </a:lnTo>
                  <a:lnTo>
                    <a:pt x="1281" y="1688"/>
                  </a:lnTo>
                  <a:lnTo>
                    <a:pt x="1270" y="1688"/>
                  </a:lnTo>
                  <a:lnTo>
                    <a:pt x="1276" y="1699"/>
                  </a:lnTo>
                  <a:lnTo>
                    <a:pt x="1257" y="1706"/>
                  </a:lnTo>
                  <a:lnTo>
                    <a:pt x="1247" y="1711"/>
                  </a:lnTo>
                  <a:lnTo>
                    <a:pt x="1240" y="1724"/>
                  </a:lnTo>
                  <a:lnTo>
                    <a:pt x="1198" y="1735"/>
                  </a:lnTo>
                  <a:lnTo>
                    <a:pt x="1175" y="1747"/>
                  </a:lnTo>
                  <a:lnTo>
                    <a:pt x="1181" y="1729"/>
                  </a:lnTo>
                  <a:lnTo>
                    <a:pt x="1192" y="1724"/>
                  </a:lnTo>
                  <a:lnTo>
                    <a:pt x="1204" y="1711"/>
                  </a:lnTo>
                  <a:lnTo>
                    <a:pt x="1221" y="1711"/>
                  </a:lnTo>
                  <a:lnTo>
                    <a:pt x="1228" y="1693"/>
                  </a:lnTo>
                  <a:lnTo>
                    <a:pt x="1215" y="1688"/>
                  </a:lnTo>
                  <a:lnTo>
                    <a:pt x="1204" y="1688"/>
                  </a:lnTo>
                  <a:lnTo>
                    <a:pt x="1198" y="1688"/>
                  </a:lnTo>
                  <a:lnTo>
                    <a:pt x="1192" y="1693"/>
                  </a:lnTo>
                  <a:lnTo>
                    <a:pt x="1192" y="1699"/>
                  </a:lnTo>
                  <a:lnTo>
                    <a:pt x="1181" y="1706"/>
                  </a:lnTo>
                  <a:lnTo>
                    <a:pt x="1168" y="1699"/>
                  </a:lnTo>
                  <a:lnTo>
                    <a:pt x="1162" y="1699"/>
                  </a:lnTo>
                  <a:lnTo>
                    <a:pt x="1156" y="1688"/>
                  </a:lnTo>
                  <a:lnTo>
                    <a:pt x="1156" y="1676"/>
                  </a:lnTo>
                  <a:lnTo>
                    <a:pt x="1145" y="1663"/>
                  </a:lnTo>
                  <a:lnTo>
                    <a:pt x="1139" y="1676"/>
                  </a:lnTo>
                  <a:lnTo>
                    <a:pt x="1145" y="1688"/>
                  </a:lnTo>
                  <a:lnTo>
                    <a:pt x="1150" y="1706"/>
                  </a:lnTo>
                  <a:lnTo>
                    <a:pt x="1156" y="1724"/>
                  </a:lnTo>
                  <a:lnTo>
                    <a:pt x="1145" y="1724"/>
                  </a:lnTo>
                  <a:lnTo>
                    <a:pt x="1126" y="1706"/>
                  </a:lnTo>
                  <a:lnTo>
                    <a:pt x="1122" y="1688"/>
                  </a:lnTo>
                  <a:lnTo>
                    <a:pt x="1126" y="1653"/>
                  </a:lnTo>
                  <a:lnTo>
                    <a:pt x="1109" y="1646"/>
                  </a:lnTo>
                  <a:lnTo>
                    <a:pt x="1103" y="1657"/>
                  </a:lnTo>
                  <a:lnTo>
                    <a:pt x="1091" y="1670"/>
                  </a:lnTo>
                  <a:lnTo>
                    <a:pt x="1078" y="1676"/>
                  </a:lnTo>
                  <a:lnTo>
                    <a:pt x="1073" y="1688"/>
                  </a:lnTo>
                  <a:lnTo>
                    <a:pt x="1067" y="1693"/>
                  </a:lnTo>
                  <a:lnTo>
                    <a:pt x="1073" y="1711"/>
                  </a:lnTo>
                  <a:lnTo>
                    <a:pt x="1067" y="1735"/>
                  </a:lnTo>
                  <a:lnTo>
                    <a:pt x="1061" y="1752"/>
                  </a:lnTo>
                  <a:lnTo>
                    <a:pt x="1073" y="1759"/>
                  </a:lnTo>
                  <a:lnTo>
                    <a:pt x="1091" y="1771"/>
                  </a:lnTo>
                  <a:lnTo>
                    <a:pt x="1109" y="1777"/>
                  </a:lnTo>
                  <a:lnTo>
                    <a:pt x="1132" y="1777"/>
                  </a:lnTo>
                  <a:lnTo>
                    <a:pt x="1145" y="1777"/>
                  </a:lnTo>
                  <a:lnTo>
                    <a:pt x="1150" y="1783"/>
                  </a:lnTo>
                  <a:lnTo>
                    <a:pt x="1150" y="1788"/>
                  </a:lnTo>
                  <a:lnTo>
                    <a:pt x="1145" y="1801"/>
                  </a:lnTo>
                  <a:lnTo>
                    <a:pt x="1132" y="1813"/>
                  </a:lnTo>
                  <a:lnTo>
                    <a:pt x="1150" y="1813"/>
                  </a:lnTo>
                  <a:lnTo>
                    <a:pt x="1150" y="1824"/>
                  </a:lnTo>
                  <a:lnTo>
                    <a:pt x="1139" y="1836"/>
                  </a:lnTo>
                  <a:lnTo>
                    <a:pt x="1122" y="1836"/>
                  </a:lnTo>
                  <a:lnTo>
                    <a:pt x="1132" y="1824"/>
                  </a:lnTo>
                  <a:lnTo>
                    <a:pt x="1114" y="1824"/>
                  </a:lnTo>
                  <a:lnTo>
                    <a:pt x="1103" y="1819"/>
                  </a:lnTo>
                  <a:lnTo>
                    <a:pt x="1091" y="1831"/>
                  </a:lnTo>
                  <a:lnTo>
                    <a:pt x="1073" y="1855"/>
                  </a:lnTo>
                  <a:lnTo>
                    <a:pt x="1061" y="1866"/>
                  </a:lnTo>
                  <a:lnTo>
                    <a:pt x="1042" y="1866"/>
                  </a:lnTo>
                  <a:lnTo>
                    <a:pt x="1037" y="1866"/>
                  </a:lnTo>
                  <a:lnTo>
                    <a:pt x="1037" y="1885"/>
                  </a:lnTo>
                  <a:lnTo>
                    <a:pt x="1025" y="1902"/>
                  </a:lnTo>
                  <a:lnTo>
                    <a:pt x="1042" y="1914"/>
                  </a:lnTo>
                  <a:lnTo>
                    <a:pt x="1032" y="1926"/>
                  </a:lnTo>
                  <a:lnTo>
                    <a:pt x="1025" y="1944"/>
                  </a:lnTo>
                  <a:lnTo>
                    <a:pt x="1014" y="1961"/>
                  </a:lnTo>
                  <a:lnTo>
                    <a:pt x="1014" y="1980"/>
                  </a:lnTo>
                  <a:lnTo>
                    <a:pt x="1006" y="1997"/>
                  </a:lnTo>
                  <a:lnTo>
                    <a:pt x="1006" y="2010"/>
                  </a:lnTo>
                  <a:lnTo>
                    <a:pt x="989" y="2033"/>
                  </a:lnTo>
                  <a:lnTo>
                    <a:pt x="978" y="2050"/>
                  </a:lnTo>
                  <a:lnTo>
                    <a:pt x="960" y="2050"/>
                  </a:lnTo>
                  <a:lnTo>
                    <a:pt x="942" y="2056"/>
                  </a:lnTo>
                  <a:lnTo>
                    <a:pt x="919" y="2045"/>
                  </a:lnTo>
                  <a:lnTo>
                    <a:pt x="907" y="2039"/>
                  </a:lnTo>
                  <a:lnTo>
                    <a:pt x="888" y="2039"/>
                  </a:lnTo>
                  <a:lnTo>
                    <a:pt x="894" y="2021"/>
                  </a:lnTo>
                  <a:lnTo>
                    <a:pt x="888" y="2010"/>
                  </a:lnTo>
                  <a:lnTo>
                    <a:pt x="864" y="2010"/>
                  </a:lnTo>
                  <a:lnTo>
                    <a:pt x="854" y="1991"/>
                  </a:lnTo>
                  <a:lnTo>
                    <a:pt x="835" y="1980"/>
                  </a:lnTo>
                  <a:lnTo>
                    <a:pt x="828" y="1980"/>
                  </a:lnTo>
                  <a:lnTo>
                    <a:pt x="834" y="1967"/>
                  </a:lnTo>
                  <a:lnTo>
                    <a:pt x="828" y="1961"/>
                  </a:lnTo>
                  <a:lnTo>
                    <a:pt x="834" y="1950"/>
                  </a:lnTo>
                  <a:lnTo>
                    <a:pt x="822" y="1944"/>
                  </a:lnTo>
                  <a:lnTo>
                    <a:pt x="822" y="1938"/>
                  </a:lnTo>
                  <a:lnTo>
                    <a:pt x="835" y="1926"/>
                  </a:lnTo>
                  <a:lnTo>
                    <a:pt x="834" y="1914"/>
                  </a:lnTo>
                  <a:lnTo>
                    <a:pt x="828" y="1902"/>
                  </a:lnTo>
                  <a:lnTo>
                    <a:pt x="822" y="1896"/>
                  </a:lnTo>
                  <a:lnTo>
                    <a:pt x="805" y="1896"/>
                  </a:lnTo>
                  <a:lnTo>
                    <a:pt x="805" y="1890"/>
                  </a:lnTo>
                  <a:lnTo>
                    <a:pt x="818" y="1878"/>
                  </a:lnTo>
                  <a:lnTo>
                    <a:pt x="834" y="1872"/>
                  </a:lnTo>
                  <a:lnTo>
                    <a:pt x="841" y="1866"/>
                  </a:lnTo>
                  <a:lnTo>
                    <a:pt x="847" y="1849"/>
                  </a:lnTo>
                  <a:lnTo>
                    <a:pt x="854" y="1831"/>
                  </a:lnTo>
                  <a:lnTo>
                    <a:pt x="858" y="1819"/>
                  </a:lnTo>
                  <a:lnTo>
                    <a:pt x="858" y="1801"/>
                  </a:lnTo>
                  <a:lnTo>
                    <a:pt x="854" y="1788"/>
                  </a:lnTo>
                  <a:lnTo>
                    <a:pt x="841" y="1783"/>
                  </a:lnTo>
                  <a:lnTo>
                    <a:pt x="834" y="1783"/>
                  </a:lnTo>
                  <a:lnTo>
                    <a:pt x="822" y="1788"/>
                  </a:lnTo>
                  <a:lnTo>
                    <a:pt x="811" y="1801"/>
                  </a:lnTo>
                  <a:lnTo>
                    <a:pt x="805" y="1806"/>
                  </a:lnTo>
                  <a:lnTo>
                    <a:pt x="786" y="1806"/>
                  </a:lnTo>
                  <a:lnTo>
                    <a:pt x="763" y="1801"/>
                  </a:lnTo>
                  <a:lnTo>
                    <a:pt x="744" y="1788"/>
                  </a:lnTo>
                  <a:lnTo>
                    <a:pt x="721" y="1788"/>
                  </a:lnTo>
                  <a:lnTo>
                    <a:pt x="693" y="1795"/>
                  </a:lnTo>
                  <a:lnTo>
                    <a:pt x="674" y="1795"/>
                  </a:lnTo>
                  <a:lnTo>
                    <a:pt x="644" y="1806"/>
                  </a:lnTo>
                  <a:lnTo>
                    <a:pt x="626" y="1819"/>
                  </a:lnTo>
                  <a:lnTo>
                    <a:pt x="613" y="1831"/>
                  </a:lnTo>
                  <a:lnTo>
                    <a:pt x="608" y="1855"/>
                  </a:lnTo>
                  <a:lnTo>
                    <a:pt x="585" y="1855"/>
                  </a:lnTo>
                  <a:lnTo>
                    <a:pt x="590" y="1866"/>
                  </a:lnTo>
                  <a:lnTo>
                    <a:pt x="585" y="1878"/>
                  </a:lnTo>
                  <a:lnTo>
                    <a:pt x="567" y="1885"/>
                  </a:lnTo>
                  <a:lnTo>
                    <a:pt x="554" y="1896"/>
                  </a:lnTo>
                  <a:lnTo>
                    <a:pt x="554" y="1878"/>
                  </a:lnTo>
                  <a:lnTo>
                    <a:pt x="543" y="1872"/>
                  </a:lnTo>
                  <a:lnTo>
                    <a:pt x="524" y="1885"/>
                  </a:lnTo>
                  <a:lnTo>
                    <a:pt x="518" y="1890"/>
                  </a:lnTo>
                  <a:lnTo>
                    <a:pt x="501" y="1890"/>
                  </a:lnTo>
                  <a:lnTo>
                    <a:pt x="484" y="1902"/>
                  </a:lnTo>
                  <a:lnTo>
                    <a:pt x="471" y="1908"/>
                  </a:lnTo>
                  <a:lnTo>
                    <a:pt x="459" y="1926"/>
                  </a:lnTo>
                  <a:lnTo>
                    <a:pt x="442" y="1926"/>
                  </a:lnTo>
                  <a:lnTo>
                    <a:pt x="418" y="1931"/>
                  </a:lnTo>
                  <a:lnTo>
                    <a:pt x="400" y="1938"/>
                  </a:lnTo>
                  <a:lnTo>
                    <a:pt x="389" y="1950"/>
                  </a:lnTo>
                  <a:lnTo>
                    <a:pt x="370" y="1955"/>
                  </a:lnTo>
                  <a:lnTo>
                    <a:pt x="359" y="1967"/>
                  </a:lnTo>
                  <a:lnTo>
                    <a:pt x="336" y="1980"/>
                  </a:lnTo>
                  <a:lnTo>
                    <a:pt x="323" y="1986"/>
                  </a:lnTo>
                  <a:lnTo>
                    <a:pt x="310" y="1955"/>
                  </a:lnTo>
                  <a:lnTo>
                    <a:pt x="300" y="1957"/>
                  </a:lnTo>
                  <a:lnTo>
                    <a:pt x="292" y="1955"/>
                  </a:lnTo>
                  <a:lnTo>
                    <a:pt x="287" y="1957"/>
                  </a:lnTo>
                  <a:lnTo>
                    <a:pt x="281" y="1957"/>
                  </a:lnTo>
                  <a:lnTo>
                    <a:pt x="264" y="1974"/>
                  </a:lnTo>
                  <a:lnTo>
                    <a:pt x="251" y="1997"/>
                  </a:lnTo>
                  <a:lnTo>
                    <a:pt x="256" y="2010"/>
                  </a:lnTo>
                  <a:lnTo>
                    <a:pt x="268" y="2021"/>
                  </a:lnTo>
                  <a:lnTo>
                    <a:pt x="268" y="2045"/>
                  </a:lnTo>
                  <a:lnTo>
                    <a:pt x="256" y="2063"/>
                  </a:lnTo>
                  <a:lnTo>
                    <a:pt x="256" y="2075"/>
                  </a:lnTo>
                  <a:lnTo>
                    <a:pt x="251" y="2075"/>
                  </a:lnTo>
                  <a:lnTo>
                    <a:pt x="239" y="2056"/>
                  </a:lnTo>
                  <a:lnTo>
                    <a:pt x="228" y="2069"/>
                  </a:lnTo>
                  <a:lnTo>
                    <a:pt x="203" y="2056"/>
                  </a:lnTo>
                  <a:lnTo>
                    <a:pt x="184" y="2056"/>
                  </a:lnTo>
                  <a:lnTo>
                    <a:pt x="192" y="2046"/>
                  </a:lnTo>
                  <a:lnTo>
                    <a:pt x="161" y="2046"/>
                  </a:lnTo>
                  <a:lnTo>
                    <a:pt x="131" y="2050"/>
                  </a:lnTo>
                  <a:lnTo>
                    <a:pt x="125" y="2056"/>
                  </a:lnTo>
                  <a:lnTo>
                    <a:pt x="114" y="2050"/>
                  </a:lnTo>
                  <a:lnTo>
                    <a:pt x="102" y="2063"/>
                  </a:lnTo>
                  <a:lnTo>
                    <a:pt x="95" y="2075"/>
                  </a:lnTo>
                  <a:lnTo>
                    <a:pt x="72" y="2086"/>
                  </a:lnTo>
                  <a:lnTo>
                    <a:pt x="61" y="2086"/>
                  </a:lnTo>
                  <a:lnTo>
                    <a:pt x="55" y="2075"/>
                  </a:lnTo>
                  <a:lnTo>
                    <a:pt x="42" y="2063"/>
                  </a:lnTo>
                  <a:lnTo>
                    <a:pt x="36" y="2063"/>
                  </a:lnTo>
                  <a:lnTo>
                    <a:pt x="30" y="2075"/>
                  </a:lnTo>
                  <a:lnTo>
                    <a:pt x="13" y="2086"/>
                  </a:lnTo>
                  <a:lnTo>
                    <a:pt x="13" y="2069"/>
                  </a:lnTo>
                  <a:lnTo>
                    <a:pt x="0" y="2056"/>
                  </a:lnTo>
                  <a:lnTo>
                    <a:pt x="13" y="2046"/>
                  </a:lnTo>
                  <a:lnTo>
                    <a:pt x="13" y="2039"/>
                  </a:lnTo>
                  <a:lnTo>
                    <a:pt x="0" y="2027"/>
                  </a:lnTo>
                  <a:lnTo>
                    <a:pt x="6" y="2014"/>
                  </a:lnTo>
                  <a:lnTo>
                    <a:pt x="19" y="2010"/>
                  </a:lnTo>
                  <a:lnTo>
                    <a:pt x="19" y="2003"/>
                  </a:lnTo>
                  <a:lnTo>
                    <a:pt x="6" y="1991"/>
                  </a:lnTo>
                  <a:lnTo>
                    <a:pt x="19" y="1986"/>
                  </a:lnTo>
                  <a:lnTo>
                    <a:pt x="30" y="1986"/>
                  </a:lnTo>
                  <a:lnTo>
                    <a:pt x="42" y="1991"/>
                  </a:lnTo>
                  <a:lnTo>
                    <a:pt x="55" y="1980"/>
                  </a:lnTo>
                  <a:lnTo>
                    <a:pt x="72" y="1980"/>
                  </a:lnTo>
                  <a:lnTo>
                    <a:pt x="95" y="1957"/>
                  </a:lnTo>
                  <a:lnTo>
                    <a:pt x="108" y="1931"/>
                  </a:lnTo>
                  <a:lnTo>
                    <a:pt x="120" y="1926"/>
                  </a:lnTo>
                  <a:lnTo>
                    <a:pt x="138" y="1908"/>
                  </a:lnTo>
                  <a:lnTo>
                    <a:pt x="161" y="1896"/>
                  </a:lnTo>
                  <a:lnTo>
                    <a:pt x="174" y="1878"/>
                  </a:lnTo>
                  <a:lnTo>
                    <a:pt x="179" y="1866"/>
                  </a:lnTo>
                  <a:lnTo>
                    <a:pt x="192" y="1855"/>
                  </a:lnTo>
                  <a:lnTo>
                    <a:pt x="197" y="1855"/>
                  </a:lnTo>
                  <a:lnTo>
                    <a:pt x="209" y="1831"/>
                  </a:lnTo>
                  <a:lnTo>
                    <a:pt x="220" y="1806"/>
                  </a:lnTo>
                  <a:lnTo>
                    <a:pt x="239" y="1783"/>
                  </a:lnTo>
                  <a:lnTo>
                    <a:pt x="251" y="1771"/>
                  </a:lnTo>
                  <a:lnTo>
                    <a:pt x="268" y="1759"/>
                  </a:lnTo>
                  <a:lnTo>
                    <a:pt x="292" y="1747"/>
                  </a:lnTo>
                  <a:lnTo>
                    <a:pt x="300" y="1729"/>
                  </a:lnTo>
                  <a:lnTo>
                    <a:pt x="304" y="1711"/>
                  </a:lnTo>
                  <a:lnTo>
                    <a:pt x="292" y="1699"/>
                  </a:lnTo>
                  <a:lnTo>
                    <a:pt x="304" y="1688"/>
                  </a:lnTo>
                  <a:lnTo>
                    <a:pt x="340" y="1676"/>
                  </a:lnTo>
                  <a:lnTo>
                    <a:pt x="353" y="1670"/>
                  </a:lnTo>
                  <a:lnTo>
                    <a:pt x="376" y="1653"/>
                  </a:lnTo>
                  <a:lnTo>
                    <a:pt x="393" y="1657"/>
                  </a:lnTo>
                  <a:lnTo>
                    <a:pt x="412" y="1653"/>
                  </a:lnTo>
                  <a:lnTo>
                    <a:pt x="387" y="1682"/>
                  </a:lnTo>
                  <a:lnTo>
                    <a:pt x="393" y="1688"/>
                  </a:lnTo>
                  <a:lnTo>
                    <a:pt x="406" y="1682"/>
                  </a:lnTo>
                  <a:lnTo>
                    <a:pt x="406" y="1670"/>
                  </a:lnTo>
                  <a:lnTo>
                    <a:pt x="429" y="1676"/>
                  </a:lnTo>
                  <a:lnTo>
                    <a:pt x="442" y="1676"/>
                  </a:lnTo>
                  <a:lnTo>
                    <a:pt x="465" y="1657"/>
                  </a:lnTo>
                  <a:lnTo>
                    <a:pt x="478" y="1653"/>
                  </a:lnTo>
                  <a:lnTo>
                    <a:pt x="507" y="1653"/>
                  </a:lnTo>
                  <a:lnTo>
                    <a:pt x="537" y="1646"/>
                  </a:lnTo>
                  <a:lnTo>
                    <a:pt x="567" y="1640"/>
                  </a:lnTo>
                  <a:lnTo>
                    <a:pt x="596" y="1621"/>
                  </a:lnTo>
                  <a:lnTo>
                    <a:pt x="626" y="1604"/>
                  </a:lnTo>
                  <a:lnTo>
                    <a:pt x="655" y="1585"/>
                  </a:lnTo>
                  <a:lnTo>
                    <a:pt x="685" y="1581"/>
                  </a:lnTo>
                  <a:lnTo>
                    <a:pt x="716" y="1574"/>
                  </a:lnTo>
                  <a:lnTo>
                    <a:pt x="739" y="1568"/>
                  </a:lnTo>
                  <a:lnTo>
                    <a:pt x="757" y="1551"/>
                  </a:lnTo>
                  <a:lnTo>
                    <a:pt x="769" y="1545"/>
                  </a:lnTo>
                  <a:lnTo>
                    <a:pt x="786" y="1545"/>
                  </a:lnTo>
                  <a:lnTo>
                    <a:pt x="782" y="1562"/>
                  </a:lnTo>
                  <a:lnTo>
                    <a:pt x="775" y="1581"/>
                  </a:lnTo>
                  <a:lnTo>
                    <a:pt x="763" y="1597"/>
                  </a:lnTo>
                  <a:lnTo>
                    <a:pt x="786" y="1592"/>
                  </a:lnTo>
                  <a:lnTo>
                    <a:pt x="786" y="1598"/>
                  </a:lnTo>
                  <a:lnTo>
                    <a:pt x="805" y="1597"/>
                  </a:lnTo>
                  <a:lnTo>
                    <a:pt x="799" y="1617"/>
                  </a:lnTo>
                  <a:lnTo>
                    <a:pt x="818" y="1604"/>
                  </a:lnTo>
                  <a:lnTo>
                    <a:pt x="818" y="1585"/>
                  </a:lnTo>
                  <a:lnTo>
                    <a:pt x="834" y="1581"/>
                  </a:lnTo>
                  <a:lnTo>
                    <a:pt x="828" y="1592"/>
                  </a:lnTo>
                  <a:lnTo>
                    <a:pt x="828" y="1598"/>
                  </a:lnTo>
                  <a:lnTo>
                    <a:pt x="835" y="1597"/>
                  </a:lnTo>
                  <a:lnTo>
                    <a:pt x="841" y="1598"/>
                  </a:lnTo>
                  <a:lnTo>
                    <a:pt x="854" y="1581"/>
                  </a:lnTo>
                  <a:lnTo>
                    <a:pt x="858" y="1592"/>
                  </a:lnTo>
                  <a:lnTo>
                    <a:pt x="877" y="1585"/>
                  </a:lnTo>
                  <a:lnTo>
                    <a:pt x="871" y="1574"/>
                  </a:lnTo>
                  <a:lnTo>
                    <a:pt x="883" y="1574"/>
                  </a:lnTo>
                  <a:lnTo>
                    <a:pt x="888" y="1562"/>
                  </a:lnTo>
                  <a:lnTo>
                    <a:pt x="883" y="1545"/>
                  </a:lnTo>
                  <a:lnTo>
                    <a:pt x="900" y="1545"/>
                  </a:lnTo>
                  <a:lnTo>
                    <a:pt x="907" y="1557"/>
                  </a:lnTo>
                  <a:lnTo>
                    <a:pt x="911" y="1532"/>
                  </a:lnTo>
                  <a:lnTo>
                    <a:pt x="907" y="1515"/>
                  </a:lnTo>
                  <a:lnTo>
                    <a:pt x="923" y="1515"/>
                  </a:lnTo>
                  <a:lnTo>
                    <a:pt x="923" y="1545"/>
                  </a:lnTo>
                  <a:lnTo>
                    <a:pt x="924" y="1538"/>
                  </a:lnTo>
                  <a:lnTo>
                    <a:pt x="936" y="1528"/>
                  </a:lnTo>
                  <a:lnTo>
                    <a:pt x="924" y="1509"/>
                  </a:lnTo>
                  <a:lnTo>
                    <a:pt x="911" y="1496"/>
                  </a:lnTo>
                  <a:lnTo>
                    <a:pt x="900" y="1479"/>
                  </a:lnTo>
                  <a:lnTo>
                    <a:pt x="900" y="1460"/>
                  </a:lnTo>
                  <a:lnTo>
                    <a:pt x="911" y="1437"/>
                  </a:lnTo>
                  <a:lnTo>
                    <a:pt x="936" y="1395"/>
                  </a:lnTo>
                  <a:lnTo>
                    <a:pt x="953" y="1366"/>
                  </a:lnTo>
                  <a:lnTo>
                    <a:pt x="978" y="1330"/>
                  </a:lnTo>
                  <a:lnTo>
                    <a:pt x="989" y="1306"/>
                  </a:lnTo>
                  <a:lnTo>
                    <a:pt x="996" y="1270"/>
                  </a:lnTo>
                  <a:lnTo>
                    <a:pt x="1002" y="1241"/>
                  </a:lnTo>
                  <a:lnTo>
                    <a:pt x="996" y="1205"/>
                  </a:lnTo>
                  <a:lnTo>
                    <a:pt x="989" y="1181"/>
                  </a:lnTo>
                  <a:lnTo>
                    <a:pt x="983" y="1164"/>
                  </a:lnTo>
                  <a:lnTo>
                    <a:pt x="989" y="1145"/>
                  </a:lnTo>
                  <a:lnTo>
                    <a:pt x="989" y="1128"/>
                  </a:lnTo>
                  <a:lnTo>
                    <a:pt x="1002" y="1109"/>
                  </a:lnTo>
                  <a:lnTo>
                    <a:pt x="1014" y="1103"/>
                  </a:lnTo>
                  <a:lnTo>
                    <a:pt x="1025" y="1092"/>
                  </a:lnTo>
                  <a:lnTo>
                    <a:pt x="1042" y="1086"/>
                  </a:lnTo>
                  <a:lnTo>
                    <a:pt x="1061" y="1067"/>
                  </a:lnTo>
                  <a:lnTo>
                    <a:pt x="1067" y="1063"/>
                  </a:lnTo>
                  <a:lnTo>
                    <a:pt x="1078" y="1063"/>
                  </a:lnTo>
                  <a:lnTo>
                    <a:pt x="1086" y="1067"/>
                  </a:lnTo>
                  <a:lnTo>
                    <a:pt x="1078" y="1080"/>
                  </a:lnTo>
                  <a:lnTo>
                    <a:pt x="1067" y="1092"/>
                  </a:lnTo>
                  <a:lnTo>
                    <a:pt x="1078" y="1103"/>
                  </a:lnTo>
                  <a:lnTo>
                    <a:pt x="1073" y="1116"/>
                  </a:lnTo>
                  <a:lnTo>
                    <a:pt x="1055" y="1122"/>
                  </a:lnTo>
                  <a:lnTo>
                    <a:pt x="1050" y="1133"/>
                  </a:lnTo>
                  <a:lnTo>
                    <a:pt x="1037" y="1139"/>
                  </a:lnTo>
                  <a:lnTo>
                    <a:pt x="1025" y="1139"/>
                  </a:lnTo>
                  <a:lnTo>
                    <a:pt x="1014" y="1164"/>
                  </a:lnTo>
                  <a:lnTo>
                    <a:pt x="1025" y="1192"/>
                  </a:lnTo>
                  <a:lnTo>
                    <a:pt x="1037" y="1192"/>
                  </a:lnTo>
                  <a:lnTo>
                    <a:pt x="1050" y="1181"/>
                  </a:lnTo>
                  <a:lnTo>
                    <a:pt x="1061" y="1181"/>
                  </a:lnTo>
                  <a:lnTo>
                    <a:pt x="1055" y="1228"/>
                  </a:lnTo>
                  <a:lnTo>
                    <a:pt x="1073" y="1240"/>
                  </a:lnTo>
                  <a:lnTo>
                    <a:pt x="1097" y="1241"/>
                  </a:lnTo>
                  <a:lnTo>
                    <a:pt x="1109" y="1241"/>
                  </a:lnTo>
                  <a:lnTo>
                    <a:pt x="1122" y="1234"/>
                  </a:lnTo>
                  <a:lnTo>
                    <a:pt x="1126" y="1223"/>
                  </a:lnTo>
                  <a:lnTo>
                    <a:pt x="1126" y="1198"/>
                  </a:lnTo>
                  <a:lnTo>
                    <a:pt x="1156" y="1181"/>
                  </a:lnTo>
                  <a:lnTo>
                    <a:pt x="1186" y="1164"/>
                  </a:lnTo>
                  <a:lnTo>
                    <a:pt x="1204" y="1145"/>
                  </a:lnTo>
                  <a:lnTo>
                    <a:pt x="1234" y="1128"/>
                  </a:lnTo>
                  <a:lnTo>
                    <a:pt x="1251" y="1103"/>
                  </a:lnTo>
                  <a:lnTo>
                    <a:pt x="1276" y="1086"/>
                  </a:lnTo>
                  <a:lnTo>
                    <a:pt x="1287" y="1080"/>
                  </a:lnTo>
                  <a:lnTo>
                    <a:pt x="1304" y="1056"/>
                  </a:lnTo>
                  <a:lnTo>
                    <a:pt x="1323" y="1027"/>
                  </a:lnTo>
                  <a:lnTo>
                    <a:pt x="1329" y="1002"/>
                  </a:lnTo>
                  <a:lnTo>
                    <a:pt x="1336" y="961"/>
                  </a:lnTo>
                  <a:lnTo>
                    <a:pt x="1346" y="937"/>
                  </a:lnTo>
                  <a:lnTo>
                    <a:pt x="1371" y="919"/>
                  </a:lnTo>
                  <a:lnTo>
                    <a:pt x="1382" y="889"/>
                  </a:lnTo>
                  <a:lnTo>
                    <a:pt x="1401" y="871"/>
                  </a:lnTo>
                  <a:lnTo>
                    <a:pt x="1425" y="835"/>
                  </a:lnTo>
                  <a:lnTo>
                    <a:pt x="1430" y="812"/>
                  </a:lnTo>
                  <a:lnTo>
                    <a:pt x="1425" y="794"/>
                  </a:lnTo>
                  <a:lnTo>
                    <a:pt x="1425" y="776"/>
                  </a:lnTo>
                  <a:lnTo>
                    <a:pt x="1430" y="740"/>
                  </a:lnTo>
                  <a:lnTo>
                    <a:pt x="1443" y="716"/>
                  </a:lnTo>
                  <a:lnTo>
                    <a:pt x="1454" y="693"/>
                  </a:lnTo>
                  <a:lnTo>
                    <a:pt x="1460" y="645"/>
                  </a:lnTo>
                  <a:lnTo>
                    <a:pt x="1460" y="615"/>
                  </a:lnTo>
                  <a:lnTo>
                    <a:pt x="1460" y="591"/>
                  </a:lnTo>
                  <a:lnTo>
                    <a:pt x="1460" y="573"/>
                  </a:lnTo>
                  <a:lnTo>
                    <a:pt x="1460" y="549"/>
                  </a:lnTo>
                  <a:lnTo>
                    <a:pt x="1466" y="526"/>
                  </a:lnTo>
                  <a:lnTo>
                    <a:pt x="1471" y="508"/>
                  </a:lnTo>
                  <a:lnTo>
                    <a:pt x="1471" y="490"/>
                  </a:lnTo>
                  <a:lnTo>
                    <a:pt x="1466" y="460"/>
                  </a:lnTo>
                  <a:lnTo>
                    <a:pt x="1460" y="437"/>
                  </a:lnTo>
                  <a:lnTo>
                    <a:pt x="1448" y="419"/>
                  </a:lnTo>
                  <a:lnTo>
                    <a:pt x="1443" y="401"/>
                  </a:lnTo>
                  <a:lnTo>
                    <a:pt x="1437" y="406"/>
                  </a:lnTo>
                  <a:lnTo>
                    <a:pt x="1443" y="419"/>
                  </a:lnTo>
                  <a:lnTo>
                    <a:pt x="1430" y="412"/>
                  </a:lnTo>
                  <a:lnTo>
                    <a:pt x="1418" y="429"/>
                  </a:lnTo>
                  <a:lnTo>
                    <a:pt x="1401" y="437"/>
                  </a:lnTo>
                  <a:lnTo>
                    <a:pt x="1389" y="412"/>
                  </a:lnTo>
                  <a:lnTo>
                    <a:pt x="1389" y="401"/>
                  </a:lnTo>
                  <a:lnTo>
                    <a:pt x="1407" y="406"/>
                  </a:lnTo>
                  <a:lnTo>
                    <a:pt x="1418" y="383"/>
                  </a:lnTo>
                  <a:lnTo>
                    <a:pt x="1425" y="365"/>
                  </a:lnTo>
                  <a:lnTo>
                    <a:pt x="1430" y="347"/>
                  </a:lnTo>
                  <a:lnTo>
                    <a:pt x="1425" y="330"/>
                  </a:lnTo>
                  <a:lnTo>
                    <a:pt x="1425" y="304"/>
                  </a:lnTo>
                  <a:lnTo>
                    <a:pt x="1407" y="300"/>
                  </a:lnTo>
                  <a:lnTo>
                    <a:pt x="1401" y="287"/>
                  </a:lnTo>
                  <a:lnTo>
                    <a:pt x="1401" y="270"/>
                  </a:lnTo>
                  <a:lnTo>
                    <a:pt x="1376" y="251"/>
                  </a:lnTo>
                  <a:lnTo>
                    <a:pt x="1395" y="239"/>
                  </a:lnTo>
                  <a:lnTo>
                    <a:pt x="1401" y="215"/>
                  </a:lnTo>
                  <a:lnTo>
                    <a:pt x="1418" y="222"/>
                  </a:lnTo>
                  <a:lnTo>
                    <a:pt x="1425" y="209"/>
                  </a:lnTo>
                  <a:lnTo>
                    <a:pt x="1437" y="205"/>
                  </a:lnTo>
                  <a:lnTo>
                    <a:pt x="1430" y="169"/>
                  </a:lnTo>
                  <a:lnTo>
                    <a:pt x="1430" y="156"/>
                  </a:lnTo>
                  <a:lnTo>
                    <a:pt x="1437" y="156"/>
                  </a:lnTo>
                  <a:lnTo>
                    <a:pt x="1437" y="144"/>
                  </a:lnTo>
                  <a:lnTo>
                    <a:pt x="1430" y="144"/>
                  </a:lnTo>
                  <a:lnTo>
                    <a:pt x="1425" y="126"/>
                  </a:lnTo>
                  <a:lnTo>
                    <a:pt x="1425" y="108"/>
                  </a:lnTo>
                  <a:lnTo>
                    <a:pt x="1430" y="91"/>
                  </a:lnTo>
                  <a:lnTo>
                    <a:pt x="1430" y="84"/>
                  </a:lnTo>
                  <a:lnTo>
                    <a:pt x="1437" y="84"/>
                  </a:lnTo>
                  <a:lnTo>
                    <a:pt x="1448" y="97"/>
                  </a:lnTo>
                  <a:lnTo>
                    <a:pt x="1454" y="97"/>
                  </a:lnTo>
                  <a:lnTo>
                    <a:pt x="1460" y="91"/>
                  </a:lnTo>
                  <a:lnTo>
                    <a:pt x="1466" y="84"/>
                  </a:lnTo>
                  <a:lnTo>
                    <a:pt x="1479" y="97"/>
                  </a:lnTo>
                  <a:lnTo>
                    <a:pt x="1502" y="150"/>
                  </a:lnTo>
                  <a:lnTo>
                    <a:pt x="1515" y="162"/>
                  </a:lnTo>
                  <a:lnTo>
                    <a:pt x="1525" y="162"/>
                  </a:lnTo>
                  <a:lnTo>
                    <a:pt x="1532" y="156"/>
                  </a:lnTo>
                  <a:lnTo>
                    <a:pt x="1538" y="150"/>
                  </a:lnTo>
                  <a:lnTo>
                    <a:pt x="1532" y="133"/>
                  </a:lnTo>
                  <a:lnTo>
                    <a:pt x="1543" y="120"/>
                  </a:lnTo>
                  <a:lnTo>
                    <a:pt x="1561" y="133"/>
                  </a:lnTo>
                  <a:lnTo>
                    <a:pt x="1568" y="133"/>
                  </a:lnTo>
                  <a:lnTo>
                    <a:pt x="1585" y="150"/>
                  </a:lnTo>
                  <a:lnTo>
                    <a:pt x="1591" y="108"/>
                  </a:lnTo>
                  <a:lnTo>
                    <a:pt x="1591" y="79"/>
                  </a:lnTo>
                  <a:lnTo>
                    <a:pt x="1585" y="55"/>
                  </a:lnTo>
                  <a:lnTo>
                    <a:pt x="1561" y="72"/>
                  </a:lnTo>
                  <a:lnTo>
                    <a:pt x="1549" y="78"/>
                  </a:lnTo>
                  <a:lnTo>
                    <a:pt x="1538" y="84"/>
                  </a:lnTo>
                  <a:lnTo>
                    <a:pt x="1520" y="97"/>
                  </a:lnTo>
                  <a:lnTo>
                    <a:pt x="1507" y="97"/>
                  </a:lnTo>
                  <a:lnTo>
                    <a:pt x="1496" y="78"/>
                  </a:lnTo>
                  <a:lnTo>
                    <a:pt x="1507" y="0"/>
                  </a:lnTo>
                  <a:lnTo>
                    <a:pt x="1525" y="13"/>
                  </a:lnTo>
                  <a:lnTo>
                    <a:pt x="1549" y="13"/>
                  </a:lnTo>
                  <a:lnTo>
                    <a:pt x="1579" y="26"/>
                  </a:lnTo>
                  <a:lnTo>
                    <a:pt x="1610" y="13"/>
                  </a:lnTo>
                  <a:lnTo>
                    <a:pt x="1615" y="13"/>
                  </a:lnTo>
                  <a:lnTo>
                    <a:pt x="1610" y="49"/>
                  </a:lnTo>
                  <a:lnTo>
                    <a:pt x="1610" y="67"/>
                  </a:lnTo>
                  <a:lnTo>
                    <a:pt x="1621" y="103"/>
                  </a:lnTo>
                  <a:lnTo>
                    <a:pt x="1627" y="133"/>
                  </a:lnTo>
                  <a:lnTo>
                    <a:pt x="1627" y="139"/>
                  </a:lnTo>
                  <a:lnTo>
                    <a:pt x="1621" y="150"/>
                  </a:lnTo>
                  <a:lnTo>
                    <a:pt x="1621" y="169"/>
                  </a:lnTo>
                  <a:lnTo>
                    <a:pt x="1627" y="162"/>
                  </a:lnTo>
                  <a:lnTo>
                    <a:pt x="1633" y="139"/>
                  </a:lnTo>
                  <a:lnTo>
                    <a:pt x="1650" y="179"/>
                  </a:lnTo>
                  <a:lnTo>
                    <a:pt x="1650" y="186"/>
                  </a:lnTo>
                  <a:lnTo>
                    <a:pt x="1657" y="192"/>
                  </a:lnTo>
                  <a:lnTo>
                    <a:pt x="1663" y="205"/>
                  </a:lnTo>
                  <a:lnTo>
                    <a:pt x="1674" y="205"/>
                  </a:lnTo>
                  <a:lnTo>
                    <a:pt x="1686" y="209"/>
                  </a:lnTo>
                  <a:lnTo>
                    <a:pt x="1693" y="198"/>
                  </a:lnTo>
                  <a:lnTo>
                    <a:pt x="1722" y="222"/>
                  </a:lnTo>
                  <a:lnTo>
                    <a:pt x="1729" y="222"/>
                  </a:lnTo>
                  <a:lnTo>
                    <a:pt x="1729" y="239"/>
                  </a:lnTo>
                  <a:lnTo>
                    <a:pt x="1746" y="245"/>
                  </a:lnTo>
                  <a:lnTo>
                    <a:pt x="1752" y="258"/>
                  </a:lnTo>
                  <a:lnTo>
                    <a:pt x="1758" y="275"/>
                  </a:lnTo>
                  <a:lnTo>
                    <a:pt x="1765" y="300"/>
                  </a:lnTo>
                  <a:lnTo>
                    <a:pt x="1788" y="334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44" name="Freeform 74"/>
            <p:cNvSpPr>
              <a:spLocks/>
            </p:cNvSpPr>
            <p:nvPr/>
          </p:nvSpPr>
          <p:spPr bwMode="auto">
            <a:xfrm>
              <a:off x="1418" y="3615"/>
              <a:ext cx="626" cy="705"/>
            </a:xfrm>
            <a:custGeom>
              <a:avLst/>
              <a:gdLst>
                <a:gd name="T0" fmla="*/ 29954757 w 507"/>
                <a:gd name="T1" fmla="*/ 213 h 693"/>
                <a:gd name="T2" fmla="*/ 35694299 w 507"/>
                <a:gd name="T3" fmla="*/ 139 h 693"/>
                <a:gd name="T4" fmla="*/ 35176470 w 507"/>
                <a:gd name="T5" fmla="*/ 313 h 693"/>
                <a:gd name="T6" fmla="*/ 35694299 w 507"/>
                <a:gd name="T7" fmla="*/ 394 h 693"/>
                <a:gd name="T8" fmla="*/ 39798665 w 507"/>
                <a:gd name="T9" fmla="*/ 363 h 693"/>
                <a:gd name="T10" fmla="*/ 40890587 w 507"/>
                <a:gd name="T11" fmla="*/ 450 h 693"/>
                <a:gd name="T12" fmla="*/ 40890587 w 507"/>
                <a:gd name="T13" fmla="*/ 529 h 693"/>
                <a:gd name="T14" fmla="*/ 43034593 w 507"/>
                <a:gd name="T15" fmla="*/ 556 h 693"/>
                <a:gd name="T16" fmla="*/ 40890587 w 507"/>
                <a:gd name="T17" fmla="*/ 679 h 693"/>
                <a:gd name="T18" fmla="*/ 39362545 w 507"/>
                <a:gd name="T19" fmla="*/ 797 h 693"/>
                <a:gd name="T20" fmla="*/ 38849200 w 507"/>
                <a:gd name="T21" fmla="*/ 936 h 693"/>
                <a:gd name="T22" fmla="*/ 38293124 w 507"/>
                <a:gd name="T23" fmla="*/ 1356 h 693"/>
                <a:gd name="T24" fmla="*/ 36243460 w 507"/>
                <a:gd name="T25" fmla="*/ 1504 h 693"/>
                <a:gd name="T26" fmla="*/ 31464130 w 507"/>
                <a:gd name="T27" fmla="*/ 1493 h 693"/>
                <a:gd name="T28" fmla="*/ 33058373 w 507"/>
                <a:gd name="T29" fmla="*/ 1580 h 693"/>
                <a:gd name="T30" fmla="*/ 27312331 w 507"/>
                <a:gd name="T31" fmla="*/ 1706 h 693"/>
                <a:gd name="T32" fmla="*/ 26743711 w 507"/>
                <a:gd name="T33" fmla="*/ 1553 h 693"/>
                <a:gd name="T34" fmla="*/ 25819671 w 507"/>
                <a:gd name="T35" fmla="*/ 1461 h 693"/>
                <a:gd name="T36" fmla="*/ 24075821 w 507"/>
                <a:gd name="T37" fmla="*/ 1403 h 693"/>
                <a:gd name="T38" fmla="*/ 26251110 w 507"/>
                <a:gd name="T39" fmla="*/ 1342 h 693"/>
                <a:gd name="T40" fmla="*/ 22566131 w 507"/>
                <a:gd name="T41" fmla="*/ 1444 h 693"/>
                <a:gd name="T42" fmla="*/ 24075821 w 507"/>
                <a:gd name="T43" fmla="*/ 1610 h 693"/>
                <a:gd name="T44" fmla="*/ 22566131 w 507"/>
                <a:gd name="T45" fmla="*/ 1658 h 693"/>
                <a:gd name="T46" fmla="*/ 16936286 w 507"/>
                <a:gd name="T47" fmla="*/ 1580 h 693"/>
                <a:gd name="T48" fmla="*/ 18933461 w 507"/>
                <a:gd name="T49" fmla="*/ 1493 h 693"/>
                <a:gd name="T50" fmla="*/ 16936286 w 507"/>
                <a:gd name="T51" fmla="*/ 1370 h 693"/>
                <a:gd name="T52" fmla="*/ 15422379 w 507"/>
                <a:gd name="T53" fmla="*/ 1342 h 693"/>
                <a:gd name="T54" fmla="*/ 15422379 w 507"/>
                <a:gd name="T55" fmla="*/ 1142 h 693"/>
                <a:gd name="T56" fmla="*/ 19468092 w 507"/>
                <a:gd name="T57" fmla="*/ 915 h 693"/>
                <a:gd name="T58" fmla="*/ 17378047 w 507"/>
                <a:gd name="T59" fmla="*/ 832 h 693"/>
                <a:gd name="T60" fmla="*/ 19468092 w 507"/>
                <a:gd name="T61" fmla="*/ 693 h 693"/>
                <a:gd name="T62" fmla="*/ 16302108 w 507"/>
                <a:gd name="T63" fmla="*/ 585 h 693"/>
                <a:gd name="T64" fmla="*/ 12258025 w 507"/>
                <a:gd name="T65" fmla="*/ 543 h 693"/>
                <a:gd name="T66" fmla="*/ 12258025 w 507"/>
                <a:gd name="T67" fmla="*/ 679 h 693"/>
                <a:gd name="T68" fmla="*/ 15422379 w 507"/>
                <a:gd name="T69" fmla="*/ 723 h 693"/>
                <a:gd name="T70" fmla="*/ 13107982 w 507"/>
                <a:gd name="T71" fmla="*/ 859 h 693"/>
                <a:gd name="T72" fmla="*/ 11540528 w 507"/>
                <a:gd name="T73" fmla="*/ 753 h 693"/>
                <a:gd name="T74" fmla="*/ 7408838 w 507"/>
                <a:gd name="T75" fmla="*/ 874 h 693"/>
                <a:gd name="T76" fmla="*/ 7408838 w 507"/>
                <a:gd name="T77" fmla="*/ 811 h 693"/>
                <a:gd name="T78" fmla="*/ 4352651 w 507"/>
                <a:gd name="T79" fmla="*/ 782 h 693"/>
                <a:gd name="T80" fmla="*/ 1994500 w 507"/>
                <a:gd name="T81" fmla="*/ 616 h 693"/>
                <a:gd name="T82" fmla="*/ 5910784 w 507"/>
                <a:gd name="T83" fmla="*/ 693 h 693"/>
                <a:gd name="T84" fmla="*/ 7408838 w 507"/>
                <a:gd name="T85" fmla="*/ 723 h 693"/>
                <a:gd name="T86" fmla="*/ 8339610 w 507"/>
                <a:gd name="T87" fmla="*/ 649 h 693"/>
                <a:gd name="T88" fmla="*/ 4787169 w 507"/>
                <a:gd name="T89" fmla="*/ 602 h 693"/>
                <a:gd name="T90" fmla="*/ 1178049 w 507"/>
                <a:gd name="T91" fmla="*/ 569 h 693"/>
                <a:gd name="T92" fmla="*/ 1615354 w 507"/>
                <a:gd name="T93" fmla="*/ 434 h 693"/>
                <a:gd name="T94" fmla="*/ 4787169 w 507"/>
                <a:gd name="T95" fmla="*/ 484 h 693"/>
                <a:gd name="T96" fmla="*/ 5910784 w 507"/>
                <a:gd name="T97" fmla="*/ 327 h 693"/>
                <a:gd name="T98" fmla="*/ 9074239 w 507"/>
                <a:gd name="T99" fmla="*/ 283 h 693"/>
                <a:gd name="T100" fmla="*/ 13737588 w 507"/>
                <a:gd name="T101" fmla="*/ 241 h 693"/>
                <a:gd name="T102" fmla="*/ 15422379 w 507"/>
                <a:gd name="T103" fmla="*/ 105 h 693"/>
                <a:gd name="T104" fmla="*/ 21589028 w 507"/>
                <a:gd name="T105" fmla="*/ 19 h 693"/>
                <a:gd name="T106" fmla="*/ 23073826 w 507"/>
                <a:gd name="T107" fmla="*/ 85 h 693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507"/>
                <a:gd name="T163" fmla="*/ 0 h 693"/>
                <a:gd name="T164" fmla="*/ 507 w 507"/>
                <a:gd name="T165" fmla="*/ 693 h 693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507" h="693">
                  <a:moveTo>
                    <a:pt x="281" y="66"/>
                  </a:moveTo>
                  <a:lnTo>
                    <a:pt x="293" y="78"/>
                  </a:lnTo>
                  <a:lnTo>
                    <a:pt x="334" y="72"/>
                  </a:lnTo>
                  <a:lnTo>
                    <a:pt x="340" y="84"/>
                  </a:lnTo>
                  <a:lnTo>
                    <a:pt x="363" y="78"/>
                  </a:lnTo>
                  <a:lnTo>
                    <a:pt x="376" y="66"/>
                  </a:lnTo>
                  <a:lnTo>
                    <a:pt x="382" y="49"/>
                  </a:lnTo>
                  <a:lnTo>
                    <a:pt x="406" y="59"/>
                  </a:lnTo>
                  <a:lnTo>
                    <a:pt x="424" y="78"/>
                  </a:lnTo>
                  <a:lnTo>
                    <a:pt x="424" y="102"/>
                  </a:lnTo>
                  <a:lnTo>
                    <a:pt x="416" y="120"/>
                  </a:lnTo>
                  <a:lnTo>
                    <a:pt x="399" y="126"/>
                  </a:lnTo>
                  <a:lnTo>
                    <a:pt x="388" y="131"/>
                  </a:lnTo>
                  <a:lnTo>
                    <a:pt x="382" y="138"/>
                  </a:lnTo>
                  <a:lnTo>
                    <a:pt x="393" y="149"/>
                  </a:lnTo>
                  <a:lnTo>
                    <a:pt x="406" y="156"/>
                  </a:lnTo>
                  <a:lnTo>
                    <a:pt x="416" y="143"/>
                  </a:lnTo>
                  <a:lnTo>
                    <a:pt x="441" y="138"/>
                  </a:lnTo>
                  <a:lnTo>
                    <a:pt x="447" y="143"/>
                  </a:lnTo>
                  <a:lnTo>
                    <a:pt x="452" y="143"/>
                  </a:lnTo>
                  <a:lnTo>
                    <a:pt x="447" y="162"/>
                  </a:lnTo>
                  <a:lnTo>
                    <a:pt x="442" y="167"/>
                  </a:lnTo>
                  <a:lnTo>
                    <a:pt x="465" y="167"/>
                  </a:lnTo>
                  <a:lnTo>
                    <a:pt x="465" y="179"/>
                  </a:lnTo>
                  <a:lnTo>
                    <a:pt x="488" y="173"/>
                  </a:lnTo>
                  <a:lnTo>
                    <a:pt x="483" y="185"/>
                  </a:lnTo>
                  <a:lnTo>
                    <a:pt x="465" y="198"/>
                  </a:lnTo>
                  <a:lnTo>
                    <a:pt x="465" y="209"/>
                  </a:lnTo>
                  <a:lnTo>
                    <a:pt x="483" y="209"/>
                  </a:lnTo>
                  <a:lnTo>
                    <a:pt x="501" y="203"/>
                  </a:lnTo>
                  <a:lnTo>
                    <a:pt x="507" y="215"/>
                  </a:lnTo>
                  <a:lnTo>
                    <a:pt x="488" y="221"/>
                  </a:lnTo>
                  <a:lnTo>
                    <a:pt x="483" y="228"/>
                  </a:lnTo>
                  <a:lnTo>
                    <a:pt x="488" y="239"/>
                  </a:lnTo>
                  <a:lnTo>
                    <a:pt x="471" y="251"/>
                  </a:lnTo>
                  <a:lnTo>
                    <a:pt x="465" y="268"/>
                  </a:lnTo>
                  <a:lnTo>
                    <a:pt x="452" y="287"/>
                  </a:lnTo>
                  <a:lnTo>
                    <a:pt x="447" y="298"/>
                  </a:lnTo>
                  <a:lnTo>
                    <a:pt x="452" y="310"/>
                  </a:lnTo>
                  <a:lnTo>
                    <a:pt x="447" y="316"/>
                  </a:lnTo>
                  <a:lnTo>
                    <a:pt x="452" y="321"/>
                  </a:lnTo>
                  <a:lnTo>
                    <a:pt x="442" y="329"/>
                  </a:lnTo>
                  <a:lnTo>
                    <a:pt x="442" y="334"/>
                  </a:lnTo>
                  <a:lnTo>
                    <a:pt x="441" y="370"/>
                  </a:lnTo>
                  <a:lnTo>
                    <a:pt x="429" y="477"/>
                  </a:lnTo>
                  <a:lnTo>
                    <a:pt x="435" y="501"/>
                  </a:lnTo>
                  <a:lnTo>
                    <a:pt x="429" y="519"/>
                  </a:lnTo>
                  <a:lnTo>
                    <a:pt x="435" y="537"/>
                  </a:lnTo>
                  <a:lnTo>
                    <a:pt x="429" y="549"/>
                  </a:lnTo>
                  <a:lnTo>
                    <a:pt x="424" y="572"/>
                  </a:lnTo>
                  <a:lnTo>
                    <a:pt x="416" y="596"/>
                  </a:lnTo>
                  <a:lnTo>
                    <a:pt x="412" y="596"/>
                  </a:lnTo>
                  <a:lnTo>
                    <a:pt x="388" y="583"/>
                  </a:lnTo>
                  <a:lnTo>
                    <a:pt x="382" y="578"/>
                  </a:lnTo>
                  <a:lnTo>
                    <a:pt x="370" y="578"/>
                  </a:lnTo>
                  <a:lnTo>
                    <a:pt x="357" y="591"/>
                  </a:lnTo>
                  <a:lnTo>
                    <a:pt x="357" y="602"/>
                  </a:lnTo>
                  <a:lnTo>
                    <a:pt x="352" y="608"/>
                  </a:lnTo>
                  <a:lnTo>
                    <a:pt x="376" y="614"/>
                  </a:lnTo>
                  <a:lnTo>
                    <a:pt x="376" y="625"/>
                  </a:lnTo>
                  <a:lnTo>
                    <a:pt x="352" y="644"/>
                  </a:lnTo>
                  <a:lnTo>
                    <a:pt x="346" y="661"/>
                  </a:lnTo>
                  <a:lnTo>
                    <a:pt x="317" y="674"/>
                  </a:lnTo>
                  <a:lnTo>
                    <a:pt x="310" y="674"/>
                  </a:lnTo>
                  <a:lnTo>
                    <a:pt x="293" y="693"/>
                  </a:lnTo>
                  <a:lnTo>
                    <a:pt x="298" y="667"/>
                  </a:lnTo>
                  <a:lnTo>
                    <a:pt x="310" y="650"/>
                  </a:lnTo>
                  <a:lnTo>
                    <a:pt x="304" y="614"/>
                  </a:lnTo>
                  <a:lnTo>
                    <a:pt x="304" y="602"/>
                  </a:lnTo>
                  <a:lnTo>
                    <a:pt x="293" y="596"/>
                  </a:lnTo>
                  <a:lnTo>
                    <a:pt x="287" y="585"/>
                  </a:lnTo>
                  <a:lnTo>
                    <a:pt x="293" y="578"/>
                  </a:lnTo>
                  <a:lnTo>
                    <a:pt x="281" y="572"/>
                  </a:lnTo>
                  <a:lnTo>
                    <a:pt x="264" y="572"/>
                  </a:lnTo>
                  <a:lnTo>
                    <a:pt x="264" y="555"/>
                  </a:lnTo>
                  <a:lnTo>
                    <a:pt x="274" y="555"/>
                  </a:lnTo>
                  <a:lnTo>
                    <a:pt x="293" y="567"/>
                  </a:lnTo>
                  <a:lnTo>
                    <a:pt x="310" y="555"/>
                  </a:lnTo>
                  <a:lnTo>
                    <a:pt x="310" y="542"/>
                  </a:lnTo>
                  <a:lnTo>
                    <a:pt x="298" y="531"/>
                  </a:lnTo>
                  <a:lnTo>
                    <a:pt x="274" y="524"/>
                  </a:lnTo>
                  <a:lnTo>
                    <a:pt x="264" y="537"/>
                  </a:lnTo>
                  <a:lnTo>
                    <a:pt x="257" y="549"/>
                  </a:lnTo>
                  <a:lnTo>
                    <a:pt x="257" y="572"/>
                  </a:lnTo>
                  <a:lnTo>
                    <a:pt x="251" y="602"/>
                  </a:lnTo>
                  <a:lnTo>
                    <a:pt x="262" y="614"/>
                  </a:lnTo>
                  <a:lnTo>
                    <a:pt x="264" y="625"/>
                  </a:lnTo>
                  <a:lnTo>
                    <a:pt x="274" y="638"/>
                  </a:lnTo>
                  <a:lnTo>
                    <a:pt x="281" y="650"/>
                  </a:lnTo>
                  <a:lnTo>
                    <a:pt x="274" y="657"/>
                  </a:lnTo>
                  <a:lnTo>
                    <a:pt x="264" y="674"/>
                  </a:lnTo>
                  <a:lnTo>
                    <a:pt x="257" y="657"/>
                  </a:lnTo>
                  <a:lnTo>
                    <a:pt x="239" y="650"/>
                  </a:lnTo>
                  <a:lnTo>
                    <a:pt x="209" y="644"/>
                  </a:lnTo>
                  <a:lnTo>
                    <a:pt x="192" y="650"/>
                  </a:lnTo>
                  <a:lnTo>
                    <a:pt x="192" y="625"/>
                  </a:lnTo>
                  <a:lnTo>
                    <a:pt x="179" y="614"/>
                  </a:lnTo>
                  <a:lnTo>
                    <a:pt x="198" y="614"/>
                  </a:lnTo>
                  <a:lnTo>
                    <a:pt x="203" y="602"/>
                  </a:lnTo>
                  <a:lnTo>
                    <a:pt x="215" y="591"/>
                  </a:lnTo>
                  <a:lnTo>
                    <a:pt x="209" y="583"/>
                  </a:lnTo>
                  <a:lnTo>
                    <a:pt x="198" y="572"/>
                  </a:lnTo>
                  <a:lnTo>
                    <a:pt x="198" y="560"/>
                  </a:lnTo>
                  <a:lnTo>
                    <a:pt x="192" y="542"/>
                  </a:lnTo>
                  <a:lnTo>
                    <a:pt x="185" y="537"/>
                  </a:lnTo>
                  <a:lnTo>
                    <a:pt x="173" y="549"/>
                  </a:lnTo>
                  <a:lnTo>
                    <a:pt x="167" y="542"/>
                  </a:lnTo>
                  <a:lnTo>
                    <a:pt x="175" y="531"/>
                  </a:lnTo>
                  <a:lnTo>
                    <a:pt x="179" y="495"/>
                  </a:lnTo>
                  <a:lnTo>
                    <a:pt x="175" y="477"/>
                  </a:lnTo>
                  <a:lnTo>
                    <a:pt x="167" y="460"/>
                  </a:lnTo>
                  <a:lnTo>
                    <a:pt x="175" y="452"/>
                  </a:lnTo>
                  <a:lnTo>
                    <a:pt x="185" y="447"/>
                  </a:lnTo>
                  <a:lnTo>
                    <a:pt x="203" y="412"/>
                  </a:lnTo>
                  <a:lnTo>
                    <a:pt x="209" y="393"/>
                  </a:lnTo>
                  <a:lnTo>
                    <a:pt x="221" y="363"/>
                  </a:lnTo>
                  <a:lnTo>
                    <a:pt x="239" y="334"/>
                  </a:lnTo>
                  <a:lnTo>
                    <a:pt x="251" y="329"/>
                  </a:lnTo>
                  <a:lnTo>
                    <a:pt x="251" y="321"/>
                  </a:lnTo>
                  <a:lnTo>
                    <a:pt x="198" y="329"/>
                  </a:lnTo>
                  <a:lnTo>
                    <a:pt x="203" y="321"/>
                  </a:lnTo>
                  <a:lnTo>
                    <a:pt x="221" y="310"/>
                  </a:lnTo>
                  <a:lnTo>
                    <a:pt x="215" y="293"/>
                  </a:lnTo>
                  <a:lnTo>
                    <a:pt x="221" y="274"/>
                  </a:lnTo>
                  <a:lnTo>
                    <a:pt x="209" y="264"/>
                  </a:lnTo>
                  <a:lnTo>
                    <a:pt x="192" y="257"/>
                  </a:lnTo>
                  <a:lnTo>
                    <a:pt x="179" y="245"/>
                  </a:lnTo>
                  <a:lnTo>
                    <a:pt x="185" y="232"/>
                  </a:lnTo>
                  <a:lnTo>
                    <a:pt x="175" y="228"/>
                  </a:lnTo>
                  <a:lnTo>
                    <a:pt x="162" y="215"/>
                  </a:lnTo>
                  <a:lnTo>
                    <a:pt x="156" y="198"/>
                  </a:lnTo>
                  <a:lnTo>
                    <a:pt x="139" y="215"/>
                  </a:lnTo>
                  <a:lnTo>
                    <a:pt x="126" y="221"/>
                  </a:lnTo>
                  <a:lnTo>
                    <a:pt x="126" y="251"/>
                  </a:lnTo>
                  <a:lnTo>
                    <a:pt x="139" y="264"/>
                  </a:lnTo>
                  <a:lnTo>
                    <a:pt x="139" y="268"/>
                  </a:lnTo>
                  <a:lnTo>
                    <a:pt x="126" y="281"/>
                  </a:lnTo>
                  <a:lnTo>
                    <a:pt x="156" y="274"/>
                  </a:lnTo>
                  <a:lnTo>
                    <a:pt x="173" y="274"/>
                  </a:lnTo>
                  <a:lnTo>
                    <a:pt x="175" y="287"/>
                  </a:lnTo>
                  <a:lnTo>
                    <a:pt x="179" y="304"/>
                  </a:lnTo>
                  <a:lnTo>
                    <a:pt x="175" y="321"/>
                  </a:lnTo>
                  <a:lnTo>
                    <a:pt x="162" y="334"/>
                  </a:lnTo>
                  <a:lnTo>
                    <a:pt x="149" y="340"/>
                  </a:lnTo>
                  <a:lnTo>
                    <a:pt x="143" y="334"/>
                  </a:lnTo>
                  <a:lnTo>
                    <a:pt x="139" y="329"/>
                  </a:lnTo>
                  <a:lnTo>
                    <a:pt x="143" y="316"/>
                  </a:lnTo>
                  <a:lnTo>
                    <a:pt x="131" y="298"/>
                  </a:lnTo>
                  <a:lnTo>
                    <a:pt x="120" y="298"/>
                  </a:lnTo>
                  <a:lnTo>
                    <a:pt x="103" y="316"/>
                  </a:lnTo>
                  <a:lnTo>
                    <a:pt x="95" y="329"/>
                  </a:lnTo>
                  <a:lnTo>
                    <a:pt x="84" y="346"/>
                  </a:lnTo>
                  <a:lnTo>
                    <a:pt x="67" y="363"/>
                  </a:lnTo>
                  <a:lnTo>
                    <a:pt x="72" y="340"/>
                  </a:lnTo>
                  <a:lnTo>
                    <a:pt x="84" y="329"/>
                  </a:lnTo>
                  <a:lnTo>
                    <a:pt x="84" y="321"/>
                  </a:lnTo>
                  <a:lnTo>
                    <a:pt x="72" y="317"/>
                  </a:lnTo>
                  <a:lnTo>
                    <a:pt x="72" y="298"/>
                  </a:lnTo>
                  <a:lnTo>
                    <a:pt x="59" y="304"/>
                  </a:lnTo>
                  <a:lnTo>
                    <a:pt x="49" y="310"/>
                  </a:lnTo>
                  <a:lnTo>
                    <a:pt x="42" y="293"/>
                  </a:lnTo>
                  <a:lnTo>
                    <a:pt x="31" y="287"/>
                  </a:lnTo>
                  <a:lnTo>
                    <a:pt x="31" y="268"/>
                  </a:lnTo>
                  <a:lnTo>
                    <a:pt x="23" y="245"/>
                  </a:lnTo>
                  <a:lnTo>
                    <a:pt x="31" y="245"/>
                  </a:lnTo>
                  <a:lnTo>
                    <a:pt x="42" y="264"/>
                  </a:lnTo>
                  <a:lnTo>
                    <a:pt x="59" y="264"/>
                  </a:lnTo>
                  <a:lnTo>
                    <a:pt x="67" y="274"/>
                  </a:lnTo>
                  <a:lnTo>
                    <a:pt x="59" y="287"/>
                  </a:lnTo>
                  <a:lnTo>
                    <a:pt x="78" y="293"/>
                  </a:lnTo>
                  <a:lnTo>
                    <a:pt x="84" y="298"/>
                  </a:lnTo>
                  <a:lnTo>
                    <a:pt x="84" y="287"/>
                  </a:lnTo>
                  <a:lnTo>
                    <a:pt x="90" y="281"/>
                  </a:lnTo>
                  <a:lnTo>
                    <a:pt x="84" y="274"/>
                  </a:lnTo>
                  <a:lnTo>
                    <a:pt x="95" y="264"/>
                  </a:lnTo>
                  <a:lnTo>
                    <a:pt x="95" y="257"/>
                  </a:lnTo>
                  <a:lnTo>
                    <a:pt x="84" y="245"/>
                  </a:lnTo>
                  <a:lnTo>
                    <a:pt x="72" y="239"/>
                  </a:lnTo>
                  <a:lnTo>
                    <a:pt x="54" y="245"/>
                  </a:lnTo>
                  <a:lnTo>
                    <a:pt x="54" y="239"/>
                  </a:lnTo>
                  <a:lnTo>
                    <a:pt x="42" y="228"/>
                  </a:lnTo>
                  <a:lnTo>
                    <a:pt x="23" y="239"/>
                  </a:lnTo>
                  <a:lnTo>
                    <a:pt x="23" y="221"/>
                  </a:lnTo>
                  <a:lnTo>
                    <a:pt x="13" y="226"/>
                  </a:lnTo>
                  <a:lnTo>
                    <a:pt x="0" y="221"/>
                  </a:lnTo>
                  <a:lnTo>
                    <a:pt x="6" y="198"/>
                  </a:lnTo>
                  <a:lnTo>
                    <a:pt x="6" y="173"/>
                  </a:lnTo>
                  <a:lnTo>
                    <a:pt x="19" y="173"/>
                  </a:lnTo>
                  <a:lnTo>
                    <a:pt x="31" y="162"/>
                  </a:lnTo>
                  <a:lnTo>
                    <a:pt x="31" y="179"/>
                  </a:lnTo>
                  <a:lnTo>
                    <a:pt x="54" y="173"/>
                  </a:lnTo>
                  <a:lnTo>
                    <a:pt x="54" y="192"/>
                  </a:lnTo>
                  <a:lnTo>
                    <a:pt x="67" y="173"/>
                  </a:lnTo>
                  <a:lnTo>
                    <a:pt x="49" y="149"/>
                  </a:lnTo>
                  <a:lnTo>
                    <a:pt x="54" y="138"/>
                  </a:lnTo>
                  <a:lnTo>
                    <a:pt x="67" y="131"/>
                  </a:lnTo>
                  <a:lnTo>
                    <a:pt x="72" y="138"/>
                  </a:lnTo>
                  <a:lnTo>
                    <a:pt x="84" y="143"/>
                  </a:lnTo>
                  <a:lnTo>
                    <a:pt x="107" y="131"/>
                  </a:lnTo>
                  <a:lnTo>
                    <a:pt x="103" y="114"/>
                  </a:lnTo>
                  <a:lnTo>
                    <a:pt x="126" y="95"/>
                  </a:lnTo>
                  <a:lnTo>
                    <a:pt x="131" y="107"/>
                  </a:lnTo>
                  <a:lnTo>
                    <a:pt x="143" y="107"/>
                  </a:lnTo>
                  <a:lnTo>
                    <a:pt x="156" y="95"/>
                  </a:lnTo>
                  <a:lnTo>
                    <a:pt x="156" y="90"/>
                  </a:lnTo>
                  <a:lnTo>
                    <a:pt x="143" y="84"/>
                  </a:lnTo>
                  <a:lnTo>
                    <a:pt x="173" y="54"/>
                  </a:lnTo>
                  <a:lnTo>
                    <a:pt x="175" y="42"/>
                  </a:lnTo>
                  <a:lnTo>
                    <a:pt x="209" y="19"/>
                  </a:lnTo>
                  <a:lnTo>
                    <a:pt x="221" y="19"/>
                  </a:lnTo>
                  <a:lnTo>
                    <a:pt x="228" y="31"/>
                  </a:lnTo>
                  <a:lnTo>
                    <a:pt x="245" y="19"/>
                  </a:lnTo>
                  <a:lnTo>
                    <a:pt x="262" y="13"/>
                  </a:lnTo>
                  <a:lnTo>
                    <a:pt x="264" y="0"/>
                  </a:lnTo>
                  <a:lnTo>
                    <a:pt x="264" y="19"/>
                  </a:lnTo>
                  <a:lnTo>
                    <a:pt x="262" y="31"/>
                  </a:lnTo>
                  <a:lnTo>
                    <a:pt x="257" y="42"/>
                  </a:lnTo>
                  <a:lnTo>
                    <a:pt x="281" y="66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45" name="Freeform 75"/>
            <p:cNvSpPr>
              <a:spLocks/>
            </p:cNvSpPr>
            <p:nvPr/>
          </p:nvSpPr>
          <p:spPr bwMode="auto">
            <a:xfrm>
              <a:off x="1625" y="4046"/>
              <a:ext cx="272" cy="274"/>
            </a:xfrm>
            <a:custGeom>
              <a:avLst/>
              <a:gdLst>
                <a:gd name="T0" fmla="*/ 7936237 w 221"/>
                <a:gd name="T1" fmla="*/ 23 h 269"/>
                <a:gd name="T2" fmla="*/ 10600283 w 221"/>
                <a:gd name="T3" fmla="*/ 183 h 269"/>
                <a:gd name="T4" fmla="*/ 11839559 w 221"/>
                <a:gd name="T5" fmla="*/ 209 h 269"/>
                <a:gd name="T6" fmla="*/ 13729695 w 221"/>
                <a:gd name="T7" fmla="*/ 300 h 269"/>
                <a:gd name="T8" fmla="*/ 15942834 w 221"/>
                <a:gd name="T9" fmla="*/ 318 h 269"/>
                <a:gd name="T10" fmla="*/ 15465670 w 221"/>
                <a:gd name="T11" fmla="*/ 416 h 269"/>
                <a:gd name="T12" fmla="*/ 14095282 w 221"/>
                <a:gd name="T13" fmla="*/ 448 h 269"/>
                <a:gd name="T14" fmla="*/ 13729695 w 221"/>
                <a:gd name="T15" fmla="*/ 498 h 269"/>
                <a:gd name="T16" fmla="*/ 15465670 w 221"/>
                <a:gd name="T17" fmla="*/ 546 h 269"/>
                <a:gd name="T18" fmla="*/ 13276762 w 221"/>
                <a:gd name="T19" fmla="*/ 645 h 269"/>
                <a:gd name="T20" fmla="*/ 10600283 w 221"/>
                <a:gd name="T21" fmla="*/ 675 h 269"/>
                <a:gd name="T22" fmla="*/ 9674102 w 221"/>
                <a:gd name="T23" fmla="*/ 659 h 269"/>
                <a:gd name="T24" fmla="*/ 10187037 w 221"/>
                <a:gd name="T25" fmla="*/ 516 h 269"/>
                <a:gd name="T26" fmla="*/ 9321373 w 221"/>
                <a:gd name="T27" fmla="*/ 462 h 269"/>
                <a:gd name="T28" fmla="*/ 9321373 w 221"/>
                <a:gd name="T29" fmla="*/ 416 h 269"/>
                <a:gd name="T30" fmla="*/ 7034777 w 221"/>
                <a:gd name="T31" fmla="*/ 399 h 269"/>
                <a:gd name="T32" fmla="*/ 7936237 w 221"/>
                <a:gd name="T33" fmla="*/ 354 h 269"/>
                <a:gd name="T34" fmla="*/ 10600283 w 221"/>
                <a:gd name="T35" fmla="*/ 354 h 269"/>
                <a:gd name="T36" fmla="*/ 9674102 w 221"/>
                <a:gd name="T37" fmla="*/ 285 h 269"/>
                <a:gd name="T38" fmla="*/ 6725037 w 221"/>
                <a:gd name="T39" fmla="*/ 336 h 269"/>
                <a:gd name="T40" fmla="*/ 6169497 w 221"/>
                <a:gd name="T41" fmla="*/ 480 h 269"/>
                <a:gd name="T42" fmla="*/ 7034777 w 221"/>
                <a:gd name="T43" fmla="*/ 546 h 269"/>
                <a:gd name="T44" fmla="*/ 8414942 w 221"/>
                <a:gd name="T45" fmla="*/ 610 h 269"/>
                <a:gd name="T46" fmla="*/ 7034777 w 221"/>
                <a:gd name="T47" fmla="*/ 675 h 269"/>
                <a:gd name="T48" fmla="*/ 5239159 w 221"/>
                <a:gd name="T49" fmla="*/ 610 h 269"/>
                <a:gd name="T50" fmla="*/ 1855147 w 221"/>
                <a:gd name="T51" fmla="*/ 610 h 269"/>
                <a:gd name="T52" fmla="*/ 877402 w 221"/>
                <a:gd name="T53" fmla="*/ 516 h 269"/>
                <a:gd name="T54" fmla="*/ 2574274 w 221"/>
                <a:gd name="T55" fmla="*/ 480 h 269"/>
                <a:gd name="T56" fmla="*/ 3124116 w 221"/>
                <a:gd name="T57" fmla="*/ 426 h 269"/>
                <a:gd name="T58" fmla="*/ 2283258 w 221"/>
                <a:gd name="T59" fmla="*/ 371 h 269"/>
                <a:gd name="T60" fmla="*/ 1329082 w 221"/>
                <a:gd name="T61" fmla="*/ 300 h 269"/>
                <a:gd name="T62" fmla="*/ 0 w 221"/>
                <a:gd name="T63" fmla="*/ 318 h 269"/>
                <a:gd name="T64" fmla="*/ 877402 w 221"/>
                <a:gd name="T65" fmla="*/ 186 h 269"/>
                <a:gd name="T66" fmla="*/ 0 w 221"/>
                <a:gd name="T67" fmla="*/ 99 h 269"/>
                <a:gd name="T68" fmla="*/ 3607156 w 221"/>
                <a:gd name="T69" fmla="*/ 11 h 269"/>
                <a:gd name="T70" fmla="*/ 7034777 w 221"/>
                <a:gd name="T71" fmla="*/ 11 h 26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1"/>
                <a:gd name="T109" fmla="*/ 0 h 269"/>
                <a:gd name="T110" fmla="*/ 221 w 221"/>
                <a:gd name="T111" fmla="*/ 269 h 269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1" h="269">
                  <a:moveTo>
                    <a:pt x="95" y="11"/>
                  </a:moveTo>
                  <a:lnTo>
                    <a:pt x="107" y="23"/>
                  </a:lnTo>
                  <a:lnTo>
                    <a:pt x="131" y="47"/>
                  </a:lnTo>
                  <a:lnTo>
                    <a:pt x="143" y="70"/>
                  </a:lnTo>
                  <a:lnTo>
                    <a:pt x="137" y="83"/>
                  </a:lnTo>
                  <a:lnTo>
                    <a:pt x="160" y="77"/>
                  </a:lnTo>
                  <a:lnTo>
                    <a:pt x="179" y="90"/>
                  </a:lnTo>
                  <a:lnTo>
                    <a:pt x="185" y="113"/>
                  </a:lnTo>
                  <a:lnTo>
                    <a:pt x="196" y="113"/>
                  </a:lnTo>
                  <a:lnTo>
                    <a:pt x="215" y="119"/>
                  </a:lnTo>
                  <a:lnTo>
                    <a:pt x="221" y="143"/>
                  </a:lnTo>
                  <a:lnTo>
                    <a:pt x="209" y="155"/>
                  </a:lnTo>
                  <a:lnTo>
                    <a:pt x="203" y="155"/>
                  </a:lnTo>
                  <a:lnTo>
                    <a:pt x="190" y="167"/>
                  </a:lnTo>
                  <a:lnTo>
                    <a:pt x="190" y="178"/>
                  </a:lnTo>
                  <a:lnTo>
                    <a:pt x="185" y="184"/>
                  </a:lnTo>
                  <a:lnTo>
                    <a:pt x="209" y="190"/>
                  </a:lnTo>
                  <a:lnTo>
                    <a:pt x="209" y="202"/>
                  </a:lnTo>
                  <a:lnTo>
                    <a:pt x="185" y="220"/>
                  </a:lnTo>
                  <a:lnTo>
                    <a:pt x="179" y="238"/>
                  </a:lnTo>
                  <a:lnTo>
                    <a:pt x="150" y="250"/>
                  </a:lnTo>
                  <a:lnTo>
                    <a:pt x="143" y="250"/>
                  </a:lnTo>
                  <a:lnTo>
                    <a:pt x="126" y="269"/>
                  </a:lnTo>
                  <a:lnTo>
                    <a:pt x="131" y="243"/>
                  </a:lnTo>
                  <a:lnTo>
                    <a:pt x="143" y="226"/>
                  </a:lnTo>
                  <a:lnTo>
                    <a:pt x="137" y="190"/>
                  </a:lnTo>
                  <a:lnTo>
                    <a:pt x="137" y="178"/>
                  </a:lnTo>
                  <a:lnTo>
                    <a:pt x="126" y="172"/>
                  </a:lnTo>
                  <a:lnTo>
                    <a:pt x="120" y="161"/>
                  </a:lnTo>
                  <a:lnTo>
                    <a:pt x="126" y="155"/>
                  </a:lnTo>
                  <a:lnTo>
                    <a:pt x="120" y="148"/>
                  </a:lnTo>
                  <a:lnTo>
                    <a:pt x="95" y="148"/>
                  </a:lnTo>
                  <a:lnTo>
                    <a:pt x="95" y="131"/>
                  </a:lnTo>
                  <a:lnTo>
                    <a:pt x="107" y="131"/>
                  </a:lnTo>
                  <a:lnTo>
                    <a:pt x="126" y="143"/>
                  </a:lnTo>
                  <a:lnTo>
                    <a:pt x="143" y="131"/>
                  </a:lnTo>
                  <a:lnTo>
                    <a:pt x="143" y="119"/>
                  </a:lnTo>
                  <a:lnTo>
                    <a:pt x="131" y="107"/>
                  </a:lnTo>
                  <a:lnTo>
                    <a:pt x="107" y="100"/>
                  </a:lnTo>
                  <a:lnTo>
                    <a:pt x="90" y="125"/>
                  </a:lnTo>
                  <a:lnTo>
                    <a:pt x="90" y="148"/>
                  </a:lnTo>
                  <a:lnTo>
                    <a:pt x="84" y="178"/>
                  </a:lnTo>
                  <a:lnTo>
                    <a:pt x="95" y="197"/>
                  </a:lnTo>
                  <a:lnTo>
                    <a:pt x="95" y="202"/>
                  </a:lnTo>
                  <a:lnTo>
                    <a:pt x="107" y="214"/>
                  </a:lnTo>
                  <a:lnTo>
                    <a:pt x="114" y="226"/>
                  </a:lnTo>
                  <a:lnTo>
                    <a:pt x="107" y="233"/>
                  </a:lnTo>
                  <a:lnTo>
                    <a:pt x="95" y="250"/>
                  </a:lnTo>
                  <a:lnTo>
                    <a:pt x="90" y="233"/>
                  </a:lnTo>
                  <a:lnTo>
                    <a:pt x="71" y="226"/>
                  </a:lnTo>
                  <a:lnTo>
                    <a:pt x="42" y="220"/>
                  </a:lnTo>
                  <a:lnTo>
                    <a:pt x="25" y="226"/>
                  </a:lnTo>
                  <a:lnTo>
                    <a:pt x="25" y="202"/>
                  </a:lnTo>
                  <a:lnTo>
                    <a:pt x="12" y="190"/>
                  </a:lnTo>
                  <a:lnTo>
                    <a:pt x="31" y="190"/>
                  </a:lnTo>
                  <a:lnTo>
                    <a:pt x="35" y="178"/>
                  </a:lnTo>
                  <a:lnTo>
                    <a:pt x="48" y="167"/>
                  </a:lnTo>
                  <a:lnTo>
                    <a:pt x="42" y="159"/>
                  </a:lnTo>
                  <a:lnTo>
                    <a:pt x="31" y="148"/>
                  </a:lnTo>
                  <a:lnTo>
                    <a:pt x="31" y="136"/>
                  </a:lnTo>
                  <a:lnTo>
                    <a:pt x="25" y="119"/>
                  </a:lnTo>
                  <a:lnTo>
                    <a:pt x="18" y="113"/>
                  </a:lnTo>
                  <a:lnTo>
                    <a:pt x="6" y="125"/>
                  </a:lnTo>
                  <a:lnTo>
                    <a:pt x="0" y="119"/>
                  </a:lnTo>
                  <a:lnTo>
                    <a:pt x="6" y="107"/>
                  </a:lnTo>
                  <a:lnTo>
                    <a:pt x="12" y="71"/>
                  </a:lnTo>
                  <a:lnTo>
                    <a:pt x="6" y="54"/>
                  </a:lnTo>
                  <a:lnTo>
                    <a:pt x="0" y="36"/>
                  </a:lnTo>
                  <a:lnTo>
                    <a:pt x="18" y="23"/>
                  </a:lnTo>
                  <a:lnTo>
                    <a:pt x="48" y="11"/>
                  </a:lnTo>
                  <a:lnTo>
                    <a:pt x="71" y="0"/>
                  </a:lnTo>
                  <a:lnTo>
                    <a:pt x="95" y="11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46" name="Line 76"/>
            <p:cNvSpPr>
              <a:spLocks noChangeAspect="1" noChangeShapeType="1"/>
            </p:cNvSpPr>
            <p:nvPr/>
          </p:nvSpPr>
          <p:spPr bwMode="auto">
            <a:xfrm>
              <a:off x="4023" y="4268"/>
              <a:ext cx="0" cy="0"/>
            </a:xfrm>
            <a:prstGeom prst="line">
              <a:avLst/>
            </a:prstGeom>
            <a:noFill/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47" name="Freeform 77"/>
            <p:cNvSpPr>
              <a:spLocks/>
            </p:cNvSpPr>
            <p:nvPr/>
          </p:nvSpPr>
          <p:spPr bwMode="auto">
            <a:xfrm>
              <a:off x="2906" y="2801"/>
              <a:ext cx="332" cy="346"/>
            </a:xfrm>
            <a:custGeom>
              <a:avLst/>
              <a:gdLst>
                <a:gd name="T0" fmla="*/ 25210929 w 268"/>
                <a:gd name="T1" fmla="*/ 522 h 340"/>
                <a:gd name="T2" fmla="*/ 26189724 w 268"/>
                <a:gd name="T3" fmla="*/ 567 h 340"/>
                <a:gd name="T4" fmla="*/ 27636272 w 268"/>
                <a:gd name="T5" fmla="*/ 611 h 340"/>
                <a:gd name="T6" fmla="*/ 28210324 w 268"/>
                <a:gd name="T7" fmla="*/ 705 h 340"/>
                <a:gd name="T8" fmla="*/ 26942501 w 268"/>
                <a:gd name="T9" fmla="*/ 690 h 340"/>
                <a:gd name="T10" fmla="*/ 25574781 w 268"/>
                <a:gd name="T11" fmla="*/ 738 h 340"/>
                <a:gd name="T12" fmla="*/ 23818531 w 268"/>
                <a:gd name="T13" fmla="*/ 754 h 340"/>
                <a:gd name="T14" fmla="*/ 23204897 w 268"/>
                <a:gd name="T15" fmla="*/ 722 h 340"/>
                <a:gd name="T16" fmla="*/ 19304339 w 268"/>
                <a:gd name="T17" fmla="*/ 766 h 340"/>
                <a:gd name="T18" fmla="*/ 15741248 w 268"/>
                <a:gd name="T19" fmla="*/ 690 h 340"/>
                <a:gd name="T20" fmla="*/ 14441106 w 268"/>
                <a:gd name="T21" fmla="*/ 705 h 340"/>
                <a:gd name="T22" fmla="*/ 12017111 w 268"/>
                <a:gd name="T23" fmla="*/ 781 h 340"/>
                <a:gd name="T24" fmla="*/ 12017111 w 268"/>
                <a:gd name="T25" fmla="*/ 831 h 340"/>
                <a:gd name="T26" fmla="*/ 10625388 w 268"/>
                <a:gd name="T27" fmla="*/ 875 h 340"/>
                <a:gd name="T28" fmla="*/ 8794569 w 268"/>
                <a:gd name="T29" fmla="*/ 875 h 340"/>
                <a:gd name="T30" fmla="*/ 4898773 w 268"/>
                <a:gd name="T31" fmla="*/ 802 h 340"/>
                <a:gd name="T32" fmla="*/ 4355326 w 268"/>
                <a:gd name="T33" fmla="*/ 766 h 340"/>
                <a:gd name="T34" fmla="*/ 4355326 w 268"/>
                <a:gd name="T35" fmla="*/ 690 h 340"/>
                <a:gd name="T36" fmla="*/ 3165241 w 268"/>
                <a:gd name="T37" fmla="*/ 644 h 340"/>
                <a:gd name="T38" fmla="*/ 1173368 w 268"/>
                <a:gd name="T39" fmla="*/ 644 h 340"/>
                <a:gd name="T40" fmla="*/ 0 w 268"/>
                <a:gd name="T41" fmla="*/ 599 h 340"/>
                <a:gd name="T42" fmla="*/ 1173368 w 268"/>
                <a:gd name="T43" fmla="*/ 538 h 340"/>
                <a:gd name="T44" fmla="*/ 3515746 w 268"/>
                <a:gd name="T45" fmla="*/ 522 h 340"/>
                <a:gd name="T46" fmla="*/ 9313158 w 268"/>
                <a:gd name="T47" fmla="*/ 458 h 340"/>
                <a:gd name="T48" fmla="*/ 9987717 w 268"/>
                <a:gd name="T49" fmla="*/ 430 h 340"/>
                <a:gd name="T50" fmla="*/ 9313158 w 268"/>
                <a:gd name="T51" fmla="*/ 358 h 340"/>
                <a:gd name="T52" fmla="*/ 7412682 w 268"/>
                <a:gd name="T53" fmla="*/ 304 h 340"/>
                <a:gd name="T54" fmla="*/ 7412682 w 268"/>
                <a:gd name="T55" fmla="*/ 235 h 340"/>
                <a:gd name="T56" fmla="*/ 8271457 w 268"/>
                <a:gd name="T57" fmla="*/ 179 h 340"/>
                <a:gd name="T58" fmla="*/ 7412682 w 268"/>
                <a:gd name="T59" fmla="*/ 133 h 340"/>
                <a:gd name="T60" fmla="*/ 9313158 w 268"/>
                <a:gd name="T61" fmla="*/ 107 h 340"/>
                <a:gd name="T62" fmla="*/ 11120345 w 268"/>
                <a:gd name="T63" fmla="*/ 146 h 340"/>
                <a:gd name="T64" fmla="*/ 12489651 w 268"/>
                <a:gd name="T65" fmla="*/ 95 h 340"/>
                <a:gd name="T66" fmla="*/ 13775947 w 268"/>
                <a:gd name="T67" fmla="*/ 13 h 340"/>
                <a:gd name="T68" fmla="*/ 16267809 w 268"/>
                <a:gd name="T69" fmla="*/ 13 h 340"/>
                <a:gd name="T70" fmla="*/ 18136503 w 268"/>
                <a:gd name="T71" fmla="*/ 0 h 340"/>
                <a:gd name="T72" fmla="*/ 21318146 w 268"/>
                <a:gd name="T73" fmla="*/ 0 h 340"/>
                <a:gd name="T74" fmla="*/ 23204897 w 268"/>
                <a:gd name="T75" fmla="*/ 13 h 340"/>
                <a:gd name="T76" fmla="*/ 23818531 w 268"/>
                <a:gd name="T77" fmla="*/ 107 h 340"/>
                <a:gd name="T78" fmla="*/ 23204897 w 268"/>
                <a:gd name="T79" fmla="*/ 235 h 340"/>
                <a:gd name="T80" fmla="*/ 23204897 w 268"/>
                <a:gd name="T81" fmla="*/ 358 h 340"/>
                <a:gd name="T82" fmla="*/ 22054651 w 268"/>
                <a:gd name="T83" fmla="*/ 340 h 340"/>
                <a:gd name="T84" fmla="*/ 21318146 w 268"/>
                <a:gd name="T85" fmla="*/ 370 h 340"/>
                <a:gd name="T86" fmla="*/ 22467599 w 268"/>
                <a:gd name="T87" fmla="*/ 414 h 340"/>
                <a:gd name="T88" fmla="*/ 23204897 w 268"/>
                <a:gd name="T89" fmla="*/ 414 h 340"/>
                <a:gd name="T90" fmla="*/ 25210929 w 268"/>
                <a:gd name="T91" fmla="*/ 442 h 340"/>
                <a:gd name="T92" fmla="*/ 25210929 w 268"/>
                <a:gd name="T93" fmla="*/ 522 h 34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68"/>
                <a:gd name="T142" fmla="*/ 0 h 340"/>
                <a:gd name="T143" fmla="*/ 268 w 268"/>
                <a:gd name="T144" fmla="*/ 340 h 34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68" h="340">
                  <a:moveTo>
                    <a:pt x="239" y="203"/>
                  </a:moveTo>
                  <a:lnTo>
                    <a:pt x="249" y="221"/>
                  </a:lnTo>
                  <a:lnTo>
                    <a:pt x="262" y="239"/>
                  </a:lnTo>
                  <a:lnTo>
                    <a:pt x="268" y="275"/>
                  </a:lnTo>
                  <a:lnTo>
                    <a:pt x="256" y="268"/>
                  </a:lnTo>
                  <a:lnTo>
                    <a:pt x="243" y="287"/>
                  </a:lnTo>
                  <a:lnTo>
                    <a:pt x="226" y="294"/>
                  </a:lnTo>
                  <a:lnTo>
                    <a:pt x="220" y="281"/>
                  </a:lnTo>
                  <a:lnTo>
                    <a:pt x="184" y="298"/>
                  </a:lnTo>
                  <a:lnTo>
                    <a:pt x="150" y="268"/>
                  </a:lnTo>
                  <a:lnTo>
                    <a:pt x="137" y="275"/>
                  </a:lnTo>
                  <a:lnTo>
                    <a:pt x="114" y="304"/>
                  </a:lnTo>
                  <a:lnTo>
                    <a:pt x="114" y="323"/>
                  </a:lnTo>
                  <a:lnTo>
                    <a:pt x="101" y="340"/>
                  </a:lnTo>
                  <a:lnTo>
                    <a:pt x="83" y="340"/>
                  </a:lnTo>
                  <a:lnTo>
                    <a:pt x="47" y="311"/>
                  </a:lnTo>
                  <a:lnTo>
                    <a:pt x="42" y="298"/>
                  </a:lnTo>
                  <a:lnTo>
                    <a:pt x="42" y="268"/>
                  </a:lnTo>
                  <a:lnTo>
                    <a:pt x="30" y="251"/>
                  </a:lnTo>
                  <a:lnTo>
                    <a:pt x="11" y="251"/>
                  </a:lnTo>
                  <a:lnTo>
                    <a:pt x="0" y="234"/>
                  </a:lnTo>
                  <a:lnTo>
                    <a:pt x="11" y="209"/>
                  </a:lnTo>
                  <a:lnTo>
                    <a:pt x="34" y="203"/>
                  </a:lnTo>
                  <a:lnTo>
                    <a:pt x="89" y="179"/>
                  </a:lnTo>
                  <a:lnTo>
                    <a:pt x="95" y="169"/>
                  </a:lnTo>
                  <a:lnTo>
                    <a:pt x="89" y="139"/>
                  </a:lnTo>
                  <a:lnTo>
                    <a:pt x="70" y="120"/>
                  </a:lnTo>
                  <a:lnTo>
                    <a:pt x="70" y="90"/>
                  </a:lnTo>
                  <a:lnTo>
                    <a:pt x="78" y="72"/>
                  </a:lnTo>
                  <a:lnTo>
                    <a:pt x="70" y="55"/>
                  </a:lnTo>
                  <a:lnTo>
                    <a:pt x="89" y="42"/>
                  </a:lnTo>
                  <a:lnTo>
                    <a:pt x="106" y="61"/>
                  </a:lnTo>
                  <a:lnTo>
                    <a:pt x="119" y="36"/>
                  </a:lnTo>
                  <a:lnTo>
                    <a:pt x="131" y="13"/>
                  </a:lnTo>
                  <a:lnTo>
                    <a:pt x="154" y="13"/>
                  </a:lnTo>
                  <a:lnTo>
                    <a:pt x="173" y="0"/>
                  </a:lnTo>
                  <a:lnTo>
                    <a:pt x="203" y="0"/>
                  </a:lnTo>
                  <a:lnTo>
                    <a:pt x="220" y="13"/>
                  </a:lnTo>
                  <a:lnTo>
                    <a:pt x="226" y="42"/>
                  </a:lnTo>
                  <a:lnTo>
                    <a:pt x="220" y="90"/>
                  </a:lnTo>
                  <a:lnTo>
                    <a:pt x="220" y="139"/>
                  </a:lnTo>
                  <a:lnTo>
                    <a:pt x="209" y="133"/>
                  </a:lnTo>
                  <a:lnTo>
                    <a:pt x="203" y="143"/>
                  </a:lnTo>
                  <a:lnTo>
                    <a:pt x="214" y="162"/>
                  </a:lnTo>
                  <a:lnTo>
                    <a:pt x="220" y="162"/>
                  </a:lnTo>
                  <a:lnTo>
                    <a:pt x="239" y="173"/>
                  </a:lnTo>
                  <a:lnTo>
                    <a:pt x="239" y="203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48" name="Freeform 78"/>
            <p:cNvSpPr>
              <a:spLocks/>
            </p:cNvSpPr>
            <p:nvPr/>
          </p:nvSpPr>
          <p:spPr bwMode="auto">
            <a:xfrm>
              <a:off x="2744" y="2881"/>
              <a:ext cx="283" cy="249"/>
            </a:xfrm>
            <a:custGeom>
              <a:avLst/>
              <a:gdLst>
                <a:gd name="T0" fmla="*/ 24694838 w 227"/>
                <a:gd name="T1" fmla="*/ 294 h 245"/>
                <a:gd name="T2" fmla="*/ 21143171 w 227"/>
                <a:gd name="T3" fmla="*/ 309 h 245"/>
                <a:gd name="T4" fmla="*/ 19358636 w 227"/>
                <a:gd name="T5" fmla="*/ 377 h 245"/>
                <a:gd name="T6" fmla="*/ 19358636 w 227"/>
                <a:gd name="T7" fmla="*/ 361 h 245"/>
                <a:gd name="T8" fmla="*/ 16695963 w 227"/>
                <a:gd name="T9" fmla="*/ 387 h 245"/>
                <a:gd name="T10" fmla="*/ 15772411 w 227"/>
                <a:gd name="T11" fmla="*/ 429 h 245"/>
                <a:gd name="T12" fmla="*/ 12188081 w 227"/>
                <a:gd name="T13" fmla="*/ 470 h 245"/>
                <a:gd name="T14" fmla="*/ 10295674 w 227"/>
                <a:gd name="T15" fmla="*/ 528 h 245"/>
                <a:gd name="T16" fmla="*/ 7802717 w 227"/>
                <a:gd name="T17" fmla="*/ 585 h 245"/>
                <a:gd name="T18" fmla="*/ 2449586 w 227"/>
                <a:gd name="T19" fmla="*/ 585 h 245"/>
                <a:gd name="T20" fmla="*/ 0 w 227"/>
                <a:gd name="T21" fmla="*/ 558 h 245"/>
                <a:gd name="T22" fmla="*/ 1921849 w 227"/>
                <a:gd name="T23" fmla="*/ 520 h 245"/>
                <a:gd name="T24" fmla="*/ 2449586 w 227"/>
                <a:gd name="T25" fmla="*/ 542 h 245"/>
                <a:gd name="T26" fmla="*/ 5313410 w 227"/>
                <a:gd name="T27" fmla="*/ 528 h 245"/>
                <a:gd name="T28" fmla="*/ 4361509 w 227"/>
                <a:gd name="T29" fmla="*/ 502 h 245"/>
                <a:gd name="T30" fmla="*/ 6182317 w 227"/>
                <a:gd name="T31" fmla="*/ 502 h 245"/>
                <a:gd name="T32" fmla="*/ 7021762 w 227"/>
                <a:gd name="T33" fmla="*/ 470 h 245"/>
                <a:gd name="T34" fmla="*/ 6182317 w 227"/>
                <a:gd name="T35" fmla="*/ 429 h 245"/>
                <a:gd name="T36" fmla="*/ 8754000 w 227"/>
                <a:gd name="T37" fmla="*/ 429 h 245"/>
                <a:gd name="T38" fmla="*/ 9727615 w 227"/>
                <a:gd name="T39" fmla="*/ 452 h 245"/>
                <a:gd name="T40" fmla="*/ 10295674 w 227"/>
                <a:gd name="T41" fmla="*/ 399 h 245"/>
                <a:gd name="T42" fmla="*/ 9727615 w 227"/>
                <a:gd name="T43" fmla="*/ 361 h 245"/>
                <a:gd name="T44" fmla="*/ 12188081 w 227"/>
                <a:gd name="T45" fmla="*/ 361 h 245"/>
                <a:gd name="T46" fmla="*/ 12188081 w 227"/>
                <a:gd name="T47" fmla="*/ 429 h 245"/>
                <a:gd name="T48" fmla="*/ 13981847 w 227"/>
                <a:gd name="T49" fmla="*/ 387 h 245"/>
                <a:gd name="T50" fmla="*/ 12188081 w 227"/>
                <a:gd name="T51" fmla="*/ 339 h 245"/>
                <a:gd name="T52" fmla="*/ 10295674 w 227"/>
                <a:gd name="T53" fmla="*/ 309 h 245"/>
                <a:gd name="T54" fmla="*/ 8754000 w 227"/>
                <a:gd name="T55" fmla="*/ 269 h 245"/>
                <a:gd name="T56" fmla="*/ 8754000 w 227"/>
                <a:gd name="T57" fmla="*/ 231 h 245"/>
                <a:gd name="T58" fmla="*/ 10295674 w 227"/>
                <a:gd name="T59" fmla="*/ 163 h 245"/>
                <a:gd name="T60" fmla="*/ 12188081 w 227"/>
                <a:gd name="T61" fmla="*/ 112 h 245"/>
                <a:gd name="T62" fmla="*/ 13981847 w 227"/>
                <a:gd name="T63" fmla="*/ 30 h 245"/>
                <a:gd name="T64" fmla="*/ 16695963 w 227"/>
                <a:gd name="T65" fmla="*/ 0 h 245"/>
                <a:gd name="T66" fmla="*/ 15772411 w 227"/>
                <a:gd name="T67" fmla="*/ 12 h 245"/>
                <a:gd name="T68" fmla="*/ 16695963 w 227"/>
                <a:gd name="T69" fmla="*/ 25 h 245"/>
                <a:gd name="T70" fmla="*/ 19358636 w 227"/>
                <a:gd name="T71" fmla="*/ 90 h 245"/>
                <a:gd name="T72" fmla="*/ 22949863 w 227"/>
                <a:gd name="T73" fmla="*/ 30 h 245"/>
                <a:gd name="T74" fmla="*/ 25657765 w 227"/>
                <a:gd name="T75" fmla="*/ 25 h 245"/>
                <a:gd name="T76" fmla="*/ 28343068 w 227"/>
                <a:gd name="T77" fmla="*/ 30 h 245"/>
                <a:gd name="T78" fmla="*/ 30088163 w 227"/>
                <a:gd name="T79" fmla="*/ 19 h 245"/>
                <a:gd name="T80" fmla="*/ 30088163 w 227"/>
                <a:gd name="T81" fmla="*/ 100 h 245"/>
                <a:gd name="T82" fmla="*/ 32616043 w 227"/>
                <a:gd name="T83" fmla="*/ 138 h 245"/>
                <a:gd name="T84" fmla="*/ 33682237 w 227"/>
                <a:gd name="T85" fmla="*/ 221 h 245"/>
                <a:gd name="T86" fmla="*/ 32616043 w 227"/>
                <a:gd name="T87" fmla="*/ 243 h 245"/>
                <a:gd name="T88" fmla="*/ 24694838 w 227"/>
                <a:gd name="T89" fmla="*/ 294 h 24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27"/>
                <a:gd name="T136" fmla="*/ 0 h 245"/>
                <a:gd name="T137" fmla="*/ 227 w 227"/>
                <a:gd name="T138" fmla="*/ 245 h 24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27" h="245">
                  <a:moveTo>
                    <a:pt x="167" y="125"/>
                  </a:moveTo>
                  <a:lnTo>
                    <a:pt x="142" y="131"/>
                  </a:lnTo>
                  <a:lnTo>
                    <a:pt x="131" y="156"/>
                  </a:lnTo>
                  <a:lnTo>
                    <a:pt x="131" y="150"/>
                  </a:lnTo>
                  <a:lnTo>
                    <a:pt x="112" y="161"/>
                  </a:lnTo>
                  <a:lnTo>
                    <a:pt x="106" y="180"/>
                  </a:lnTo>
                  <a:lnTo>
                    <a:pt x="83" y="197"/>
                  </a:lnTo>
                  <a:lnTo>
                    <a:pt x="70" y="220"/>
                  </a:lnTo>
                  <a:lnTo>
                    <a:pt x="53" y="245"/>
                  </a:lnTo>
                  <a:lnTo>
                    <a:pt x="17" y="245"/>
                  </a:lnTo>
                  <a:lnTo>
                    <a:pt x="0" y="233"/>
                  </a:lnTo>
                  <a:lnTo>
                    <a:pt x="13" y="216"/>
                  </a:lnTo>
                  <a:lnTo>
                    <a:pt x="17" y="226"/>
                  </a:lnTo>
                  <a:lnTo>
                    <a:pt x="36" y="220"/>
                  </a:lnTo>
                  <a:lnTo>
                    <a:pt x="30" y="209"/>
                  </a:lnTo>
                  <a:lnTo>
                    <a:pt x="42" y="209"/>
                  </a:lnTo>
                  <a:lnTo>
                    <a:pt x="47" y="197"/>
                  </a:lnTo>
                  <a:lnTo>
                    <a:pt x="42" y="180"/>
                  </a:lnTo>
                  <a:lnTo>
                    <a:pt x="59" y="180"/>
                  </a:lnTo>
                  <a:lnTo>
                    <a:pt x="66" y="190"/>
                  </a:lnTo>
                  <a:lnTo>
                    <a:pt x="70" y="167"/>
                  </a:lnTo>
                  <a:lnTo>
                    <a:pt x="66" y="150"/>
                  </a:lnTo>
                  <a:lnTo>
                    <a:pt x="83" y="150"/>
                  </a:lnTo>
                  <a:lnTo>
                    <a:pt x="83" y="180"/>
                  </a:lnTo>
                  <a:lnTo>
                    <a:pt x="95" y="161"/>
                  </a:lnTo>
                  <a:lnTo>
                    <a:pt x="83" y="143"/>
                  </a:lnTo>
                  <a:lnTo>
                    <a:pt x="70" y="131"/>
                  </a:lnTo>
                  <a:lnTo>
                    <a:pt x="59" y="114"/>
                  </a:lnTo>
                  <a:lnTo>
                    <a:pt x="59" y="95"/>
                  </a:lnTo>
                  <a:lnTo>
                    <a:pt x="70" y="72"/>
                  </a:lnTo>
                  <a:lnTo>
                    <a:pt x="83" y="48"/>
                  </a:lnTo>
                  <a:lnTo>
                    <a:pt x="95" y="30"/>
                  </a:lnTo>
                  <a:lnTo>
                    <a:pt x="112" y="0"/>
                  </a:lnTo>
                  <a:lnTo>
                    <a:pt x="106" y="12"/>
                  </a:lnTo>
                  <a:lnTo>
                    <a:pt x="112" y="25"/>
                  </a:lnTo>
                  <a:lnTo>
                    <a:pt x="131" y="36"/>
                  </a:lnTo>
                  <a:lnTo>
                    <a:pt x="155" y="30"/>
                  </a:lnTo>
                  <a:lnTo>
                    <a:pt x="173" y="25"/>
                  </a:lnTo>
                  <a:lnTo>
                    <a:pt x="191" y="30"/>
                  </a:lnTo>
                  <a:lnTo>
                    <a:pt x="203" y="19"/>
                  </a:lnTo>
                  <a:lnTo>
                    <a:pt x="203" y="42"/>
                  </a:lnTo>
                  <a:lnTo>
                    <a:pt x="220" y="61"/>
                  </a:lnTo>
                  <a:lnTo>
                    <a:pt x="227" y="91"/>
                  </a:lnTo>
                  <a:lnTo>
                    <a:pt x="220" y="101"/>
                  </a:lnTo>
                  <a:lnTo>
                    <a:pt x="167" y="125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49" name="Freeform 79"/>
            <p:cNvSpPr>
              <a:spLocks/>
            </p:cNvSpPr>
            <p:nvPr/>
          </p:nvSpPr>
          <p:spPr bwMode="auto">
            <a:xfrm>
              <a:off x="2891" y="3119"/>
              <a:ext cx="234" cy="394"/>
            </a:xfrm>
            <a:custGeom>
              <a:avLst/>
              <a:gdLst>
                <a:gd name="T0" fmla="*/ 10971833 w 190"/>
                <a:gd name="T1" fmla="*/ 129 h 388"/>
                <a:gd name="T2" fmla="*/ 9036277 w 190"/>
                <a:gd name="T3" fmla="*/ 169 h 388"/>
                <a:gd name="T4" fmla="*/ 8267323 w 190"/>
                <a:gd name="T5" fmla="*/ 220 h 388"/>
                <a:gd name="T6" fmla="*/ 8267323 w 190"/>
                <a:gd name="T7" fmla="*/ 308 h 388"/>
                <a:gd name="T8" fmla="*/ 8652610 w 190"/>
                <a:gd name="T9" fmla="*/ 370 h 388"/>
                <a:gd name="T10" fmla="*/ 11503195 w 190"/>
                <a:gd name="T11" fmla="*/ 410 h 388"/>
                <a:gd name="T12" fmla="*/ 14579905 w 190"/>
                <a:gd name="T13" fmla="*/ 422 h 388"/>
                <a:gd name="T14" fmla="*/ 14230540 w 190"/>
                <a:gd name="T15" fmla="*/ 464 h 388"/>
                <a:gd name="T16" fmla="*/ 14579905 w 190"/>
                <a:gd name="T17" fmla="*/ 492 h 388"/>
                <a:gd name="T18" fmla="*/ 13706095 w 190"/>
                <a:gd name="T19" fmla="*/ 544 h 388"/>
                <a:gd name="T20" fmla="*/ 13172585 w 190"/>
                <a:gd name="T21" fmla="*/ 519 h 388"/>
                <a:gd name="T22" fmla="*/ 10971833 w 190"/>
                <a:gd name="T23" fmla="*/ 508 h 388"/>
                <a:gd name="T24" fmla="*/ 8652610 w 190"/>
                <a:gd name="T25" fmla="*/ 587 h 388"/>
                <a:gd name="T26" fmla="*/ 5896939 w 190"/>
                <a:gd name="T27" fmla="*/ 613 h 388"/>
                <a:gd name="T28" fmla="*/ 5022388 w 190"/>
                <a:gd name="T29" fmla="*/ 696 h 388"/>
                <a:gd name="T30" fmla="*/ 5522396 w 190"/>
                <a:gd name="T31" fmla="*/ 749 h 388"/>
                <a:gd name="T32" fmla="*/ 4185183 w 190"/>
                <a:gd name="T33" fmla="*/ 833 h 388"/>
                <a:gd name="T34" fmla="*/ 2240412 w 190"/>
                <a:gd name="T35" fmla="*/ 861 h 388"/>
                <a:gd name="T36" fmla="*/ 1736537 w 190"/>
                <a:gd name="T37" fmla="*/ 793 h 388"/>
                <a:gd name="T38" fmla="*/ 3243925 w 190"/>
                <a:gd name="T39" fmla="*/ 723 h 388"/>
                <a:gd name="T40" fmla="*/ 4185183 w 190"/>
                <a:gd name="T41" fmla="*/ 642 h 388"/>
                <a:gd name="T42" fmla="*/ 2759245 w 190"/>
                <a:gd name="T43" fmla="*/ 559 h 388"/>
                <a:gd name="T44" fmla="*/ 4185183 w 190"/>
                <a:gd name="T45" fmla="*/ 492 h 388"/>
                <a:gd name="T46" fmla="*/ 4185183 w 190"/>
                <a:gd name="T47" fmla="*/ 422 h 388"/>
                <a:gd name="T48" fmla="*/ 1736537 w 190"/>
                <a:gd name="T49" fmla="*/ 410 h 388"/>
                <a:gd name="T50" fmla="*/ 1410009 w 190"/>
                <a:gd name="T51" fmla="*/ 338 h 388"/>
                <a:gd name="T52" fmla="*/ 0 w 190"/>
                <a:gd name="T53" fmla="*/ 323 h 388"/>
                <a:gd name="T54" fmla="*/ 1410009 w 190"/>
                <a:gd name="T55" fmla="*/ 257 h 388"/>
                <a:gd name="T56" fmla="*/ 3711856 w 190"/>
                <a:gd name="T57" fmla="*/ 257 h 388"/>
                <a:gd name="T58" fmla="*/ 5022388 w 190"/>
                <a:gd name="T59" fmla="*/ 155 h 388"/>
                <a:gd name="T60" fmla="*/ 5022388 w 190"/>
                <a:gd name="T61" fmla="*/ 12 h 388"/>
                <a:gd name="T62" fmla="*/ 7262542 w 190"/>
                <a:gd name="T63" fmla="*/ 29 h 388"/>
                <a:gd name="T64" fmla="*/ 11503195 w 190"/>
                <a:gd name="T65" fmla="*/ 107 h 38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0"/>
                <a:gd name="T100" fmla="*/ 0 h 388"/>
                <a:gd name="T101" fmla="*/ 190 w 190"/>
                <a:gd name="T102" fmla="*/ 388 h 38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0" h="388">
                  <a:moveTo>
                    <a:pt x="149" y="48"/>
                  </a:moveTo>
                  <a:lnTo>
                    <a:pt x="143" y="59"/>
                  </a:lnTo>
                  <a:lnTo>
                    <a:pt x="131" y="72"/>
                  </a:lnTo>
                  <a:lnTo>
                    <a:pt x="118" y="78"/>
                  </a:lnTo>
                  <a:lnTo>
                    <a:pt x="113" y="90"/>
                  </a:lnTo>
                  <a:lnTo>
                    <a:pt x="107" y="95"/>
                  </a:lnTo>
                  <a:lnTo>
                    <a:pt x="113" y="113"/>
                  </a:lnTo>
                  <a:lnTo>
                    <a:pt x="107" y="137"/>
                  </a:lnTo>
                  <a:lnTo>
                    <a:pt x="101" y="154"/>
                  </a:lnTo>
                  <a:lnTo>
                    <a:pt x="113" y="161"/>
                  </a:lnTo>
                  <a:lnTo>
                    <a:pt x="131" y="173"/>
                  </a:lnTo>
                  <a:lnTo>
                    <a:pt x="149" y="179"/>
                  </a:lnTo>
                  <a:lnTo>
                    <a:pt x="179" y="179"/>
                  </a:lnTo>
                  <a:lnTo>
                    <a:pt x="190" y="185"/>
                  </a:lnTo>
                  <a:lnTo>
                    <a:pt x="190" y="190"/>
                  </a:lnTo>
                  <a:lnTo>
                    <a:pt x="185" y="203"/>
                  </a:lnTo>
                  <a:lnTo>
                    <a:pt x="172" y="215"/>
                  </a:lnTo>
                  <a:lnTo>
                    <a:pt x="190" y="215"/>
                  </a:lnTo>
                  <a:lnTo>
                    <a:pt x="190" y="226"/>
                  </a:lnTo>
                  <a:lnTo>
                    <a:pt x="179" y="238"/>
                  </a:lnTo>
                  <a:lnTo>
                    <a:pt x="162" y="238"/>
                  </a:lnTo>
                  <a:lnTo>
                    <a:pt x="172" y="226"/>
                  </a:lnTo>
                  <a:lnTo>
                    <a:pt x="154" y="226"/>
                  </a:lnTo>
                  <a:lnTo>
                    <a:pt x="143" y="221"/>
                  </a:lnTo>
                  <a:lnTo>
                    <a:pt x="131" y="233"/>
                  </a:lnTo>
                  <a:lnTo>
                    <a:pt x="113" y="257"/>
                  </a:lnTo>
                  <a:lnTo>
                    <a:pt x="101" y="268"/>
                  </a:lnTo>
                  <a:lnTo>
                    <a:pt x="77" y="268"/>
                  </a:lnTo>
                  <a:lnTo>
                    <a:pt x="77" y="287"/>
                  </a:lnTo>
                  <a:lnTo>
                    <a:pt x="65" y="304"/>
                  </a:lnTo>
                  <a:lnTo>
                    <a:pt x="84" y="316"/>
                  </a:lnTo>
                  <a:lnTo>
                    <a:pt x="72" y="328"/>
                  </a:lnTo>
                  <a:lnTo>
                    <a:pt x="65" y="346"/>
                  </a:lnTo>
                  <a:lnTo>
                    <a:pt x="54" y="363"/>
                  </a:lnTo>
                  <a:lnTo>
                    <a:pt x="54" y="388"/>
                  </a:lnTo>
                  <a:lnTo>
                    <a:pt x="29" y="376"/>
                  </a:lnTo>
                  <a:lnTo>
                    <a:pt x="19" y="363"/>
                  </a:lnTo>
                  <a:lnTo>
                    <a:pt x="23" y="346"/>
                  </a:lnTo>
                  <a:lnTo>
                    <a:pt x="29" y="340"/>
                  </a:lnTo>
                  <a:lnTo>
                    <a:pt x="42" y="316"/>
                  </a:lnTo>
                  <a:lnTo>
                    <a:pt x="54" y="310"/>
                  </a:lnTo>
                  <a:lnTo>
                    <a:pt x="54" y="280"/>
                  </a:lnTo>
                  <a:lnTo>
                    <a:pt x="54" y="257"/>
                  </a:lnTo>
                  <a:lnTo>
                    <a:pt x="36" y="244"/>
                  </a:lnTo>
                  <a:lnTo>
                    <a:pt x="42" y="226"/>
                  </a:lnTo>
                  <a:lnTo>
                    <a:pt x="54" y="215"/>
                  </a:lnTo>
                  <a:lnTo>
                    <a:pt x="54" y="203"/>
                  </a:lnTo>
                  <a:lnTo>
                    <a:pt x="54" y="185"/>
                  </a:lnTo>
                  <a:lnTo>
                    <a:pt x="36" y="185"/>
                  </a:lnTo>
                  <a:lnTo>
                    <a:pt x="23" y="179"/>
                  </a:lnTo>
                  <a:lnTo>
                    <a:pt x="23" y="167"/>
                  </a:lnTo>
                  <a:lnTo>
                    <a:pt x="19" y="149"/>
                  </a:lnTo>
                  <a:lnTo>
                    <a:pt x="6" y="143"/>
                  </a:lnTo>
                  <a:lnTo>
                    <a:pt x="0" y="143"/>
                  </a:lnTo>
                  <a:lnTo>
                    <a:pt x="0" y="131"/>
                  </a:lnTo>
                  <a:lnTo>
                    <a:pt x="19" y="113"/>
                  </a:lnTo>
                  <a:lnTo>
                    <a:pt x="29" y="108"/>
                  </a:lnTo>
                  <a:lnTo>
                    <a:pt x="48" y="113"/>
                  </a:lnTo>
                  <a:lnTo>
                    <a:pt x="59" y="95"/>
                  </a:lnTo>
                  <a:lnTo>
                    <a:pt x="65" y="72"/>
                  </a:lnTo>
                  <a:lnTo>
                    <a:pt x="59" y="48"/>
                  </a:lnTo>
                  <a:lnTo>
                    <a:pt x="65" y="12"/>
                  </a:lnTo>
                  <a:lnTo>
                    <a:pt x="59" y="0"/>
                  </a:lnTo>
                  <a:lnTo>
                    <a:pt x="95" y="29"/>
                  </a:lnTo>
                  <a:lnTo>
                    <a:pt x="113" y="29"/>
                  </a:lnTo>
                  <a:lnTo>
                    <a:pt x="149" y="48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0" name="Freeform 80"/>
            <p:cNvSpPr>
              <a:spLocks/>
            </p:cNvSpPr>
            <p:nvPr/>
          </p:nvSpPr>
          <p:spPr bwMode="auto">
            <a:xfrm>
              <a:off x="2811" y="3033"/>
              <a:ext cx="163" cy="218"/>
            </a:xfrm>
            <a:custGeom>
              <a:avLst/>
              <a:gdLst>
                <a:gd name="T0" fmla="*/ 2223999 w 131"/>
                <a:gd name="T1" fmla="*/ 338 h 214"/>
                <a:gd name="T2" fmla="*/ 1774195 w 131"/>
                <a:gd name="T3" fmla="*/ 378 h 214"/>
                <a:gd name="T4" fmla="*/ 2223999 w 131"/>
                <a:gd name="T5" fmla="*/ 434 h 214"/>
                <a:gd name="T6" fmla="*/ 3126479 w 131"/>
                <a:gd name="T7" fmla="*/ 520 h 214"/>
                <a:gd name="T8" fmla="*/ 3921334 w 131"/>
                <a:gd name="T9" fmla="*/ 566 h 214"/>
                <a:gd name="T10" fmla="*/ 8841158 w 131"/>
                <a:gd name="T11" fmla="*/ 580 h 214"/>
                <a:gd name="T12" fmla="*/ 11324702 w 131"/>
                <a:gd name="T13" fmla="*/ 532 h 214"/>
                <a:gd name="T14" fmla="*/ 12683728 w 131"/>
                <a:gd name="T15" fmla="*/ 520 h 214"/>
                <a:gd name="T16" fmla="*/ 14916524 w 131"/>
                <a:gd name="T17" fmla="*/ 532 h 214"/>
                <a:gd name="T18" fmla="*/ 16674235 w 131"/>
                <a:gd name="T19" fmla="*/ 482 h 214"/>
                <a:gd name="T20" fmla="*/ 17533113 w 131"/>
                <a:gd name="T21" fmla="*/ 418 h 214"/>
                <a:gd name="T22" fmla="*/ 16674235 w 131"/>
                <a:gd name="T23" fmla="*/ 357 h 214"/>
                <a:gd name="T24" fmla="*/ 17533113 w 131"/>
                <a:gd name="T25" fmla="*/ 256 h 214"/>
                <a:gd name="T26" fmla="*/ 16674235 w 131"/>
                <a:gd name="T27" fmla="*/ 229 h 214"/>
                <a:gd name="T28" fmla="*/ 15948714 w 131"/>
                <a:gd name="T29" fmla="*/ 183 h 214"/>
                <a:gd name="T30" fmla="*/ 15948714 w 131"/>
                <a:gd name="T31" fmla="*/ 111 h 214"/>
                <a:gd name="T32" fmla="*/ 14171781 w 131"/>
                <a:gd name="T33" fmla="*/ 23 h 214"/>
                <a:gd name="T34" fmla="*/ 11908058 w 131"/>
                <a:gd name="T35" fmla="*/ 23 h 214"/>
                <a:gd name="T36" fmla="*/ 10461813 w 131"/>
                <a:gd name="T37" fmla="*/ 6 h 214"/>
                <a:gd name="T38" fmla="*/ 10461813 w 131"/>
                <a:gd name="T39" fmla="*/ 0 h 214"/>
                <a:gd name="T40" fmla="*/ 7812686 w 131"/>
                <a:gd name="T41" fmla="*/ 13 h 214"/>
                <a:gd name="T42" fmla="*/ 7105475 w 131"/>
                <a:gd name="T43" fmla="*/ 87 h 214"/>
                <a:gd name="T44" fmla="*/ 3921334 w 131"/>
                <a:gd name="T45" fmla="*/ 121 h 214"/>
                <a:gd name="T46" fmla="*/ 2223999 w 131"/>
                <a:gd name="T47" fmla="*/ 183 h 214"/>
                <a:gd name="T48" fmla="*/ 0 w 131"/>
                <a:gd name="T49" fmla="*/ 256 h 214"/>
                <a:gd name="T50" fmla="*/ 2223999 w 131"/>
                <a:gd name="T51" fmla="*/ 338 h 214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31"/>
                <a:gd name="T79" fmla="*/ 0 h 214"/>
                <a:gd name="T80" fmla="*/ 131 w 131"/>
                <a:gd name="T81" fmla="*/ 214 h 214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31" h="214">
                  <a:moveTo>
                    <a:pt x="17" y="125"/>
                  </a:moveTo>
                  <a:lnTo>
                    <a:pt x="13" y="138"/>
                  </a:lnTo>
                  <a:lnTo>
                    <a:pt x="17" y="161"/>
                  </a:lnTo>
                  <a:lnTo>
                    <a:pt x="23" y="191"/>
                  </a:lnTo>
                  <a:lnTo>
                    <a:pt x="30" y="209"/>
                  </a:lnTo>
                  <a:lnTo>
                    <a:pt x="66" y="214"/>
                  </a:lnTo>
                  <a:lnTo>
                    <a:pt x="84" y="196"/>
                  </a:lnTo>
                  <a:lnTo>
                    <a:pt x="95" y="191"/>
                  </a:lnTo>
                  <a:lnTo>
                    <a:pt x="112" y="196"/>
                  </a:lnTo>
                  <a:lnTo>
                    <a:pt x="125" y="178"/>
                  </a:lnTo>
                  <a:lnTo>
                    <a:pt x="131" y="155"/>
                  </a:lnTo>
                  <a:lnTo>
                    <a:pt x="125" y="131"/>
                  </a:lnTo>
                  <a:lnTo>
                    <a:pt x="131" y="95"/>
                  </a:lnTo>
                  <a:lnTo>
                    <a:pt x="125" y="83"/>
                  </a:lnTo>
                  <a:lnTo>
                    <a:pt x="120" y="70"/>
                  </a:lnTo>
                  <a:lnTo>
                    <a:pt x="120" y="42"/>
                  </a:lnTo>
                  <a:lnTo>
                    <a:pt x="107" y="23"/>
                  </a:lnTo>
                  <a:lnTo>
                    <a:pt x="89" y="23"/>
                  </a:lnTo>
                  <a:lnTo>
                    <a:pt x="78" y="6"/>
                  </a:lnTo>
                  <a:lnTo>
                    <a:pt x="78" y="0"/>
                  </a:lnTo>
                  <a:lnTo>
                    <a:pt x="59" y="13"/>
                  </a:lnTo>
                  <a:lnTo>
                    <a:pt x="53" y="30"/>
                  </a:lnTo>
                  <a:lnTo>
                    <a:pt x="30" y="47"/>
                  </a:lnTo>
                  <a:lnTo>
                    <a:pt x="17" y="70"/>
                  </a:lnTo>
                  <a:lnTo>
                    <a:pt x="0" y="95"/>
                  </a:lnTo>
                  <a:lnTo>
                    <a:pt x="17" y="125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1" name="Freeform 81"/>
            <p:cNvSpPr>
              <a:spLocks/>
            </p:cNvSpPr>
            <p:nvPr/>
          </p:nvSpPr>
          <p:spPr bwMode="auto">
            <a:xfrm>
              <a:off x="3275" y="516"/>
              <a:ext cx="1171" cy="1049"/>
            </a:xfrm>
            <a:custGeom>
              <a:avLst/>
              <a:gdLst>
                <a:gd name="T0" fmla="*/ 41946649 w 947"/>
                <a:gd name="T1" fmla="*/ 494 h 1030"/>
                <a:gd name="T2" fmla="*/ 52159804 w 947"/>
                <a:gd name="T3" fmla="*/ 604 h 1030"/>
                <a:gd name="T4" fmla="*/ 56060135 w 947"/>
                <a:gd name="T5" fmla="*/ 590 h 1030"/>
                <a:gd name="T6" fmla="*/ 59628284 w 947"/>
                <a:gd name="T7" fmla="*/ 604 h 1030"/>
                <a:gd name="T8" fmla="*/ 60824103 w 947"/>
                <a:gd name="T9" fmla="*/ 616 h 1030"/>
                <a:gd name="T10" fmla="*/ 61335258 w 947"/>
                <a:gd name="T11" fmla="*/ 590 h 1030"/>
                <a:gd name="T12" fmla="*/ 64230572 w 947"/>
                <a:gd name="T13" fmla="*/ 651 h 1030"/>
                <a:gd name="T14" fmla="*/ 70354849 w 947"/>
                <a:gd name="T15" fmla="*/ 604 h 1030"/>
                <a:gd name="T16" fmla="*/ 76510543 w 947"/>
                <a:gd name="T17" fmla="*/ 266 h 1030"/>
                <a:gd name="T18" fmla="*/ 75454482 w 947"/>
                <a:gd name="T19" fmla="*/ 571 h 1030"/>
                <a:gd name="T20" fmla="*/ 79423427 w 947"/>
                <a:gd name="T21" fmla="*/ 730 h 1030"/>
                <a:gd name="T22" fmla="*/ 79906408 w 947"/>
                <a:gd name="T23" fmla="*/ 730 h 1030"/>
                <a:gd name="T24" fmla="*/ 81767187 w 947"/>
                <a:gd name="T25" fmla="*/ 829 h 1030"/>
                <a:gd name="T26" fmla="*/ 81767187 w 947"/>
                <a:gd name="T27" fmla="*/ 925 h 1030"/>
                <a:gd name="T28" fmla="*/ 86714024 w 947"/>
                <a:gd name="T29" fmla="*/ 829 h 1030"/>
                <a:gd name="T30" fmla="*/ 87959898 w 947"/>
                <a:gd name="T31" fmla="*/ 844 h 1030"/>
                <a:gd name="T32" fmla="*/ 85017378 w 947"/>
                <a:gd name="T33" fmla="*/ 977 h 1030"/>
                <a:gd name="T34" fmla="*/ 80565670 w 947"/>
                <a:gd name="T35" fmla="*/ 1065 h 1030"/>
                <a:gd name="T36" fmla="*/ 78890549 w 947"/>
                <a:gd name="T37" fmla="*/ 1136 h 1030"/>
                <a:gd name="T38" fmla="*/ 76151255 w 947"/>
                <a:gd name="T39" fmla="*/ 1165 h 1030"/>
                <a:gd name="T40" fmla="*/ 72027675 w 947"/>
                <a:gd name="T41" fmla="*/ 1250 h 1030"/>
                <a:gd name="T42" fmla="*/ 66485460 w 947"/>
                <a:gd name="T43" fmla="*/ 1278 h 1030"/>
                <a:gd name="T44" fmla="*/ 60060973 w 947"/>
                <a:gd name="T45" fmla="*/ 1551 h 1030"/>
                <a:gd name="T46" fmla="*/ 59070834 w 947"/>
                <a:gd name="T47" fmla="*/ 1904 h 1030"/>
                <a:gd name="T48" fmla="*/ 52223945 w 947"/>
                <a:gd name="T49" fmla="*/ 1968 h 1030"/>
                <a:gd name="T50" fmla="*/ 40316350 w 947"/>
                <a:gd name="T51" fmla="*/ 1881 h 1030"/>
                <a:gd name="T52" fmla="*/ 29449730 w 947"/>
                <a:gd name="T53" fmla="*/ 1819 h 1030"/>
                <a:gd name="T54" fmla="*/ 20884947 w 947"/>
                <a:gd name="T55" fmla="*/ 2060 h 1030"/>
                <a:gd name="T56" fmla="*/ 16578324 w 947"/>
                <a:gd name="T57" fmla="*/ 2026 h 1030"/>
                <a:gd name="T58" fmla="*/ 9010344 w 947"/>
                <a:gd name="T59" fmla="*/ 1993 h 1030"/>
                <a:gd name="T60" fmla="*/ 11342691 w 947"/>
                <a:gd name="T61" fmla="*/ 2237 h 1030"/>
                <a:gd name="T62" fmla="*/ 17594074 w 947"/>
                <a:gd name="T63" fmla="*/ 2253 h 1030"/>
                <a:gd name="T64" fmla="*/ 23816309 w 947"/>
                <a:gd name="T65" fmla="*/ 2334 h 1030"/>
                <a:gd name="T66" fmla="*/ 24989653 w 947"/>
                <a:gd name="T67" fmla="*/ 2449 h 1030"/>
                <a:gd name="T68" fmla="*/ 19843323 w 947"/>
                <a:gd name="T69" fmla="*/ 2449 h 1030"/>
                <a:gd name="T70" fmla="*/ 17594074 w 947"/>
                <a:gd name="T71" fmla="*/ 2466 h 1030"/>
                <a:gd name="T72" fmla="*/ 15999318 w 947"/>
                <a:gd name="T73" fmla="*/ 2655 h 1030"/>
                <a:gd name="T74" fmla="*/ 12398446 w 947"/>
                <a:gd name="T75" fmla="*/ 2737 h 1030"/>
                <a:gd name="T76" fmla="*/ 8474677 w 947"/>
                <a:gd name="T77" fmla="*/ 2663 h 1030"/>
                <a:gd name="T78" fmla="*/ 8474677 w 947"/>
                <a:gd name="T79" fmla="*/ 2473 h 1030"/>
                <a:gd name="T80" fmla="*/ 4482319 w 947"/>
                <a:gd name="T81" fmla="*/ 2334 h 1030"/>
                <a:gd name="T82" fmla="*/ 1065242 w 947"/>
                <a:gd name="T83" fmla="*/ 2191 h 1030"/>
                <a:gd name="T84" fmla="*/ 1065242 w 947"/>
                <a:gd name="T85" fmla="*/ 1981 h 1030"/>
                <a:gd name="T86" fmla="*/ 6316773 w 947"/>
                <a:gd name="T87" fmla="*/ 1881 h 1030"/>
                <a:gd name="T88" fmla="*/ 9010344 w 947"/>
                <a:gd name="T89" fmla="*/ 1700 h 1030"/>
                <a:gd name="T90" fmla="*/ 5108441 w 947"/>
                <a:gd name="T91" fmla="*/ 1627 h 1030"/>
                <a:gd name="T92" fmla="*/ 5108441 w 947"/>
                <a:gd name="T93" fmla="*/ 1504 h 1030"/>
                <a:gd name="T94" fmla="*/ 10026757 w 947"/>
                <a:gd name="T95" fmla="*/ 1513 h 1030"/>
                <a:gd name="T96" fmla="*/ 15323784 w 947"/>
                <a:gd name="T97" fmla="*/ 1551 h 1030"/>
                <a:gd name="T98" fmla="*/ 20884947 w 947"/>
                <a:gd name="T99" fmla="*/ 1513 h 1030"/>
                <a:gd name="T100" fmla="*/ 18134608 w 947"/>
                <a:gd name="T101" fmla="*/ 1344 h 1030"/>
                <a:gd name="T102" fmla="*/ 18129860 w 947"/>
                <a:gd name="T103" fmla="*/ 1120 h 1030"/>
                <a:gd name="T104" fmla="*/ 19843323 w 947"/>
                <a:gd name="T105" fmla="*/ 880 h 1030"/>
                <a:gd name="T106" fmla="*/ 19196397 w 947"/>
                <a:gd name="T107" fmla="*/ 604 h 1030"/>
                <a:gd name="T108" fmla="*/ 15999318 w 947"/>
                <a:gd name="T109" fmla="*/ 388 h 1030"/>
                <a:gd name="T110" fmla="*/ 12398446 w 947"/>
                <a:gd name="T111" fmla="*/ 227 h 1030"/>
                <a:gd name="T112" fmla="*/ 11943064 w 947"/>
                <a:gd name="T113" fmla="*/ 24 h 1030"/>
                <a:gd name="T114" fmla="*/ 15999318 w 947"/>
                <a:gd name="T115" fmla="*/ 5 h 1030"/>
                <a:gd name="T116" fmla="*/ 23430411 w 947"/>
                <a:gd name="T117" fmla="*/ 134 h 1030"/>
                <a:gd name="T118" fmla="*/ 33458916 w 947"/>
                <a:gd name="T119" fmla="*/ 350 h 10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47"/>
                <a:gd name="T181" fmla="*/ 0 h 1030"/>
                <a:gd name="T182" fmla="*/ 947 w 947"/>
                <a:gd name="T183" fmla="*/ 1030 h 10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47" h="1030">
                  <a:moveTo>
                    <a:pt x="351" y="131"/>
                  </a:moveTo>
                  <a:lnTo>
                    <a:pt x="374" y="144"/>
                  </a:lnTo>
                  <a:lnTo>
                    <a:pt x="410" y="167"/>
                  </a:lnTo>
                  <a:lnTo>
                    <a:pt x="440" y="184"/>
                  </a:lnTo>
                  <a:lnTo>
                    <a:pt x="469" y="197"/>
                  </a:lnTo>
                  <a:lnTo>
                    <a:pt x="512" y="208"/>
                  </a:lnTo>
                  <a:lnTo>
                    <a:pt x="566" y="220"/>
                  </a:lnTo>
                  <a:lnTo>
                    <a:pt x="547" y="226"/>
                  </a:lnTo>
                  <a:lnTo>
                    <a:pt x="547" y="231"/>
                  </a:lnTo>
                  <a:lnTo>
                    <a:pt x="566" y="233"/>
                  </a:lnTo>
                  <a:lnTo>
                    <a:pt x="577" y="231"/>
                  </a:lnTo>
                  <a:lnTo>
                    <a:pt x="589" y="220"/>
                  </a:lnTo>
                  <a:lnTo>
                    <a:pt x="577" y="214"/>
                  </a:lnTo>
                  <a:lnTo>
                    <a:pt x="607" y="220"/>
                  </a:lnTo>
                  <a:lnTo>
                    <a:pt x="625" y="208"/>
                  </a:lnTo>
                  <a:lnTo>
                    <a:pt x="625" y="226"/>
                  </a:lnTo>
                  <a:lnTo>
                    <a:pt x="625" y="231"/>
                  </a:lnTo>
                  <a:lnTo>
                    <a:pt x="630" y="239"/>
                  </a:lnTo>
                  <a:lnTo>
                    <a:pt x="638" y="243"/>
                  </a:lnTo>
                  <a:lnTo>
                    <a:pt x="638" y="231"/>
                  </a:lnTo>
                  <a:lnTo>
                    <a:pt x="636" y="220"/>
                  </a:lnTo>
                  <a:lnTo>
                    <a:pt x="636" y="203"/>
                  </a:lnTo>
                  <a:lnTo>
                    <a:pt x="638" y="208"/>
                  </a:lnTo>
                  <a:lnTo>
                    <a:pt x="643" y="220"/>
                  </a:lnTo>
                  <a:lnTo>
                    <a:pt x="655" y="220"/>
                  </a:lnTo>
                  <a:lnTo>
                    <a:pt x="649" y="231"/>
                  </a:lnTo>
                  <a:lnTo>
                    <a:pt x="655" y="239"/>
                  </a:lnTo>
                  <a:lnTo>
                    <a:pt x="674" y="243"/>
                  </a:lnTo>
                  <a:lnTo>
                    <a:pt x="691" y="233"/>
                  </a:lnTo>
                  <a:lnTo>
                    <a:pt x="702" y="243"/>
                  </a:lnTo>
                  <a:lnTo>
                    <a:pt x="725" y="239"/>
                  </a:lnTo>
                  <a:lnTo>
                    <a:pt x="738" y="226"/>
                  </a:lnTo>
                  <a:lnTo>
                    <a:pt x="769" y="172"/>
                  </a:lnTo>
                  <a:lnTo>
                    <a:pt x="792" y="131"/>
                  </a:lnTo>
                  <a:lnTo>
                    <a:pt x="799" y="100"/>
                  </a:lnTo>
                  <a:lnTo>
                    <a:pt x="803" y="100"/>
                  </a:lnTo>
                  <a:lnTo>
                    <a:pt x="810" y="108"/>
                  </a:lnTo>
                  <a:lnTo>
                    <a:pt x="799" y="172"/>
                  </a:lnTo>
                  <a:lnTo>
                    <a:pt x="792" y="197"/>
                  </a:lnTo>
                  <a:lnTo>
                    <a:pt x="792" y="214"/>
                  </a:lnTo>
                  <a:lnTo>
                    <a:pt x="799" y="233"/>
                  </a:lnTo>
                  <a:lnTo>
                    <a:pt x="810" y="256"/>
                  </a:lnTo>
                  <a:lnTo>
                    <a:pt x="822" y="269"/>
                  </a:lnTo>
                  <a:lnTo>
                    <a:pt x="833" y="273"/>
                  </a:lnTo>
                  <a:lnTo>
                    <a:pt x="852" y="279"/>
                  </a:lnTo>
                  <a:lnTo>
                    <a:pt x="852" y="292"/>
                  </a:lnTo>
                  <a:lnTo>
                    <a:pt x="845" y="279"/>
                  </a:lnTo>
                  <a:lnTo>
                    <a:pt x="839" y="273"/>
                  </a:lnTo>
                  <a:lnTo>
                    <a:pt x="828" y="279"/>
                  </a:lnTo>
                  <a:lnTo>
                    <a:pt x="833" y="292"/>
                  </a:lnTo>
                  <a:lnTo>
                    <a:pt x="839" y="298"/>
                  </a:lnTo>
                  <a:lnTo>
                    <a:pt x="858" y="309"/>
                  </a:lnTo>
                  <a:lnTo>
                    <a:pt x="869" y="321"/>
                  </a:lnTo>
                  <a:lnTo>
                    <a:pt x="875" y="334"/>
                  </a:lnTo>
                  <a:lnTo>
                    <a:pt x="864" y="334"/>
                  </a:lnTo>
                  <a:lnTo>
                    <a:pt x="858" y="345"/>
                  </a:lnTo>
                  <a:lnTo>
                    <a:pt x="892" y="345"/>
                  </a:lnTo>
                  <a:lnTo>
                    <a:pt x="905" y="328"/>
                  </a:lnTo>
                  <a:lnTo>
                    <a:pt x="911" y="321"/>
                  </a:lnTo>
                  <a:lnTo>
                    <a:pt x="911" y="309"/>
                  </a:lnTo>
                  <a:lnTo>
                    <a:pt x="923" y="298"/>
                  </a:lnTo>
                  <a:lnTo>
                    <a:pt x="947" y="298"/>
                  </a:lnTo>
                  <a:lnTo>
                    <a:pt x="934" y="309"/>
                  </a:lnTo>
                  <a:lnTo>
                    <a:pt x="923" y="315"/>
                  </a:lnTo>
                  <a:lnTo>
                    <a:pt x="917" y="328"/>
                  </a:lnTo>
                  <a:lnTo>
                    <a:pt x="911" y="351"/>
                  </a:lnTo>
                  <a:lnTo>
                    <a:pt x="905" y="364"/>
                  </a:lnTo>
                  <a:lnTo>
                    <a:pt x="892" y="364"/>
                  </a:lnTo>
                  <a:lnTo>
                    <a:pt x="888" y="375"/>
                  </a:lnTo>
                  <a:lnTo>
                    <a:pt x="864" y="381"/>
                  </a:lnTo>
                  <a:lnTo>
                    <a:pt x="845" y="394"/>
                  </a:lnTo>
                  <a:lnTo>
                    <a:pt x="845" y="398"/>
                  </a:lnTo>
                  <a:lnTo>
                    <a:pt x="858" y="410"/>
                  </a:lnTo>
                  <a:lnTo>
                    <a:pt x="839" y="411"/>
                  </a:lnTo>
                  <a:lnTo>
                    <a:pt x="845" y="423"/>
                  </a:lnTo>
                  <a:lnTo>
                    <a:pt x="828" y="423"/>
                  </a:lnTo>
                  <a:lnTo>
                    <a:pt x="816" y="434"/>
                  </a:lnTo>
                  <a:lnTo>
                    <a:pt x="822" y="411"/>
                  </a:lnTo>
                  <a:lnTo>
                    <a:pt x="810" y="417"/>
                  </a:lnTo>
                  <a:lnTo>
                    <a:pt x="799" y="434"/>
                  </a:lnTo>
                  <a:lnTo>
                    <a:pt x="799" y="447"/>
                  </a:lnTo>
                  <a:lnTo>
                    <a:pt x="810" y="452"/>
                  </a:lnTo>
                  <a:lnTo>
                    <a:pt x="763" y="459"/>
                  </a:lnTo>
                  <a:lnTo>
                    <a:pt x="756" y="465"/>
                  </a:lnTo>
                  <a:lnTo>
                    <a:pt x="733" y="476"/>
                  </a:lnTo>
                  <a:lnTo>
                    <a:pt x="738" y="452"/>
                  </a:lnTo>
                  <a:lnTo>
                    <a:pt x="720" y="465"/>
                  </a:lnTo>
                  <a:lnTo>
                    <a:pt x="697" y="476"/>
                  </a:lnTo>
                  <a:lnTo>
                    <a:pt x="691" y="501"/>
                  </a:lnTo>
                  <a:lnTo>
                    <a:pt x="666" y="512"/>
                  </a:lnTo>
                  <a:lnTo>
                    <a:pt x="649" y="542"/>
                  </a:lnTo>
                  <a:lnTo>
                    <a:pt x="630" y="577"/>
                  </a:lnTo>
                  <a:lnTo>
                    <a:pt x="620" y="608"/>
                  </a:lnTo>
                  <a:lnTo>
                    <a:pt x="607" y="662"/>
                  </a:lnTo>
                  <a:lnTo>
                    <a:pt x="613" y="679"/>
                  </a:lnTo>
                  <a:lnTo>
                    <a:pt x="620" y="709"/>
                  </a:lnTo>
                  <a:lnTo>
                    <a:pt x="613" y="738"/>
                  </a:lnTo>
                  <a:lnTo>
                    <a:pt x="620" y="768"/>
                  </a:lnTo>
                  <a:lnTo>
                    <a:pt x="584" y="744"/>
                  </a:lnTo>
                  <a:lnTo>
                    <a:pt x="548" y="732"/>
                  </a:lnTo>
                  <a:lnTo>
                    <a:pt x="518" y="727"/>
                  </a:lnTo>
                  <a:lnTo>
                    <a:pt x="488" y="721"/>
                  </a:lnTo>
                  <a:lnTo>
                    <a:pt x="458" y="715"/>
                  </a:lnTo>
                  <a:lnTo>
                    <a:pt x="423" y="702"/>
                  </a:lnTo>
                  <a:lnTo>
                    <a:pt x="387" y="685"/>
                  </a:lnTo>
                  <a:lnTo>
                    <a:pt x="363" y="679"/>
                  </a:lnTo>
                  <a:lnTo>
                    <a:pt x="334" y="679"/>
                  </a:lnTo>
                  <a:lnTo>
                    <a:pt x="309" y="679"/>
                  </a:lnTo>
                  <a:lnTo>
                    <a:pt x="285" y="685"/>
                  </a:lnTo>
                  <a:lnTo>
                    <a:pt x="256" y="721"/>
                  </a:lnTo>
                  <a:lnTo>
                    <a:pt x="232" y="751"/>
                  </a:lnTo>
                  <a:lnTo>
                    <a:pt x="220" y="768"/>
                  </a:lnTo>
                  <a:lnTo>
                    <a:pt x="214" y="787"/>
                  </a:lnTo>
                  <a:lnTo>
                    <a:pt x="191" y="768"/>
                  </a:lnTo>
                  <a:lnTo>
                    <a:pt x="184" y="757"/>
                  </a:lnTo>
                  <a:lnTo>
                    <a:pt x="173" y="757"/>
                  </a:lnTo>
                  <a:lnTo>
                    <a:pt x="160" y="738"/>
                  </a:lnTo>
                  <a:lnTo>
                    <a:pt x="142" y="732"/>
                  </a:lnTo>
                  <a:lnTo>
                    <a:pt x="119" y="732"/>
                  </a:lnTo>
                  <a:lnTo>
                    <a:pt x="95" y="744"/>
                  </a:lnTo>
                  <a:lnTo>
                    <a:pt x="89" y="768"/>
                  </a:lnTo>
                  <a:lnTo>
                    <a:pt x="95" y="793"/>
                  </a:lnTo>
                  <a:lnTo>
                    <a:pt x="102" y="823"/>
                  </a:lnTo>
                  <a:lnTo>
                    <a:pt x="119" y="833"/>
                  </a:lnTo>
                  <a:lnTo>
                    <a:pt x="148" y="840"/>
                  </a:lnTo>
                  <a:lnTo>
                    <a:pt x="160" y="840"/>
                  </a:lnTo>
                  <a:lnTo>
                    <a:pt x="178" y="827"/>
                  </a:lnTo>
                  <a:lnTo>
                    <a:pt x="184" y="840"/>
                  </a:lnTo>
                  <a:lnTo>
                    <a:pt x="196" y="846"/>
                  </a:lnTo>
                  <a:lnTo>
                    <a:pt x="214" y="858"/>
                  </a:lnTo>
                  <a:lnTo>
                    <a:pt x="245" y="863"/>
                  </a:lnTo>
                  <a:lnTo>
                    <a:pt x="250" y="869"/>
                  </a:lnTo>
                  <a:lnTo>
                    <a:pt x="256" y="876"/>
                  </a:lnTo>
                  <a:lnTo>
                    <a:pt x="268" y="882"/>
                  </a:lnTo>
                  <a:lnTo>
                    <a:pt x="273" y="899"/>
                  </a:lnTo>
                  <a:lnTo>
                    <a:pt x="262" y="912"/>
                  </a:lnTo>
                  <a:lnTo>
                    <a:pt x="245" y="918"/>
                  </a:lnTo>
                  <a:lnTo>
                    <a:pt x="232" y="930"/>
                  </a:lnTo>
                  <a:lnTo>
                    <a:pt x="220" y="918"/>
                  </a:lnTo>
                  <a:lnTo>
                    <a:pt x="209" y="912"/>
                  </a:lnTo>
                  <a:lnTo>
                    <a:pt x="201" y="922"/>
                  </a:lnTo>
                  <a:lnTo>
                    <a:pt x="196" y="930"/>
                  </a:lnTo>
                  <a:lnTo>
                    <a:pt x="191" y="918"/>
                  </a:lnTo>
                  <a:lnTo>
                    <a:pt x="184" y="918"/>
                  </a:lnTo>
                  <a:lnTo>
                    <a:pt x="178" y="935"/>
                  </a:lnTo>
                  <a:lnTo>
                    <a:pt x="148" y="966"/>
                  </a:lnTo>
                  <a:lnTo>
                    <a:pt x="160" y="977"/>
                  </a:lnTo>
                  <a:lnTo>
                    <a:pt x="167" y="989"/>
                  </a:lnTo>
                  <a:lnTo>
                    <a:pt x="155" y="994"/>
                  </a:lnTo>
                  <a:lnTo>
                    <a:pt x="142" y="994"/>
                  </a:lnTo>
                  <a:lnTo>
                    <a:pt x="137" y="1002"/>
                  </a:lnTo>
                  <a:lnTo>
                    <a:pt x="131" y="1019"/>
                  </a:lnTo>
                  <a:lnTo>
                    <a:pt x="119" y="1030"/>
                  </a:lnTo>
                  <a:lnTo>
                    <a:pt x="102" y="1025"/>
                  </a:lnTo>
                  <a:lnTo>
                    <a:pt x="102" y="1013"/>
                  </a:lnTo>
                  <a:lnTo>
                    <a:pt x="89" y="994"/>
                  </a:lnTo>
                  <a:lnTo>
                    <a:pt x="76" y="983"/>
                  </a:lnTo>
                  <a:lnTo>
                    <a:pt x="83" y="958"/>
                  </a:lnTo>
                  <a:lnTo>
                    <a:pt x="89" y="947"/>
                  </a:lnTo>
                  <a:lnTo>
                    <a:pt x="89" y="922"/>
                  </a:lnTo>
                  <a:lnTo>
                    <a:pt x="95" y="905"/>
                  </a:lnTo>
                  <a:lnTo>
                    <a:pt x="76" y="888"/>
                  </a:lnTo>
                  <a:lnTo>
                    <a:pt x="66" y="869"/>
                  </a:lnTo>
                  <a:lnTo>
                    <a:pt x="47" y="869"/>
                  </a:lnTo>
                  <a:lnTo>
                    <a:pt x="23" y="858"/>
                  </a:lnTo>
                  <a:lnTo>
                    <a:pt x="11" y="846"/>
                  </a:lnTo>
                  <a:lnTo>
                    <a:pt x="0" y="833"/>
                  </a:lnTo>
                  <a:lnTo>
                    <a:pt x="11" y="816"/>
                  </a:lnTo>
                  <a:lnTo>
                    <a:pt x="11" y="793"/>
                  </a:lnTo>
                  <a:lnTo>
                    <a:pt x="6" y="768"/>
                  </a:lnTo>
                  <a:lnTo>
                    <a:pt x="0" y="751"/>
                  </a:lnTo>
                  <a:lnTo>
                    <a:pt x="11" y="738"/>
                  </a:lnTo>
                  <a:lnTo>
                    <a:pt x="30" y="721"/>
                  </a:lnTo>
                  <a:lnTo>
                    <a:pt x="34" y="709"/>
                  </a:lnTo>
                  <a:lnTo>
                    <a:pt x="47" y="702"/>
                  </a:lnTo>
                  <a:lnTo>
                    <a:pt x="66" y="702"/>
                  </a:lnTo>
                  <a:lnTo>
                    <a:pt x="70" y="691"/>
                  </a:lnTo>
                  <a:lnTo>
                    <a:pt x="70" y="673"/>
                  </a:lnTo>
                  <a:lnTo>
                    <a:pt x="76" y="655"/>
                  </a:lnTo>
                  <a:lnTo>
                    <a:pt x="95" y="632"/>
                  </a:lnTo>
                  <a:lnTo>
                    <a:pt x="89" y="626"/>
                  </a:lnTo>
                  <a:lnTo>
                    <a:pt x="76" y="626"/>
                  </a:lnTo>
                  <a:lnTo>
                    <a:pt x="70" y="613"/>
                  </a:lnTo>
                  <a:lnTo>
                    <a:pt x="53" y="608"/>
                  </a:lnTo>
                  <a:lnTo>
                    <a:pt x="42" y="601"/>
                  </a:lnTo>
                  <a:lnTo>
                    <a:pt x="34" y="590"/>
                  </a:lnTo>
                  <a:lnTo>
                    <a:pt x="47" y="577"/>
                  </a:lnTo>
                  <a:lnTo>
                    <a:pt x="53" y="560"/>
                  </a:lnTo>
                  <a:lnTo>
                    <a:pt x="66" y="554"/>
                  </a:lnTo>
                  <a:lnTo>
                    <a:pt x="83" y="565"/>
                  </a:lnTo>
                  <a:lnTo>
                    <a:pt x="102" y="573"/>
                  </a:lnTo>
                  <a:lnTo>
                    <a:pt x="106" y="565"/>
                  </a:lnTo>
                  <a:lnTo>
                    <a:pt x="119" y="584"/>
                  </a:lnTo>
                  <a:lnTo>
                    <a:pt x="142" y="577"/>
                  </a:lnTo>
                  <a:lnTo>
                    <a:pt x="155" y="565"/>
                  </a:lnTo>
                  <a:lnTo>
                    <a:pt x="160" y="577"/>
                  </a:lnTo>
                  <a:lnTo>
                    <a:pt x="167" y="584"/>
                  </a:lnTo>
                  <a:lnTo>
                    <a:pt x="184" y="588"/>
                  </a:lnTo>
                  <a:lnTo>
                    <a:pt x="196" y="577"/>
                  </a:lnTo>
                  <a:lnTo>
                    <a:pt x="220" y="565"/>
                  </a:lnTo>
                  <a:lnTo>
                    <a:pt x="232" y="537"/>
                  </a:lnTo>
                  <a:lnTo>
                    <a:pt x="220" y="512"/>
                  </a:lnTo>
                  <a:lnTo>
                    <a:pt x="201" y="506"/>
                  </a:lnTo>
                  <a:lnTo>
                    <a:pt x="191" y="501"/>
                  </a:lnTo>
                  <a:lnTo>
                    <a:pt x="196" y="483"/>
                  </a:lnTo>
                  <a:lnTo>
                    <a:pt x="191" y="465"/>
                  </a:lnTo>
                  <a:lnTo>
                    <a:pt x="184" y="440"/>
                  </a:lnTo>
                  <a:lnTo>
                    <a:pt x="190" y="417"/>
                  </a:lnTo>
                  <a:lnTo>
                    <a:pt x="196" y="410"/>
                  </a:lnTo>
                  <a:lnTo>
                    <a:pt x="214" y="394"/>
                  </a:lnTo>
                  <a:lnTo>
                    <a:pt x="214" y="368"/>
                  </a:lnTo>
                  <a:lnTo>
                    <a:pt x="209" y="328"/>
                  </a:lnTo>
                  <a:lnTo>
                    <a:pt x="196" y="309"/>
                  </a:lnTo>
                  <a:lnTo>
                    <a:pt x="201" y="273"/>
                  </a:lnTo>
                  <a:lnTo>
                    <a:pt x="196" y="239"/>
                  </a:lnTo>
                  <a:lnTo>
                    <a:pt x="201" y="226"/>
                  </a:lnTo>
                  <a:lnTo>
                    <a:pt x="196" y="208"/>
                  </a:lnTo>
                  <a:lnTo>
                    <a:pt x="190" y="190"/>
                  </a:lnTo>
                  <a:lnTo>
                    <a:pt x="184" y="161"/>
                  </a:lnTo>
                  <a:lnTo>
                    <a:pt x="167" y="144"/>
                  </a:lnTo>
                  <a:lnTo>
                    <a:pt x="155" y="131"/>
                  </a:lnTo>
                  <a:lnTo>
                    <a:pt x="142" y="119"/>
                  </a:lnTo>
                  <a:lnTo>
                    <a:pt x="142" y="100"/>
                  </a:lnTo>
                  <a:lnTo>
                    <a:pt x="131" y="83"/>
                  </a:lnTo>
                  <a:lnTo>
                    <a:pt x="125" y="59"/>
                  </a:lnTo>
                  <a:lnTo>
                    <a:pt x="125" y="47"/>
                  </a:lnTo>
                  <a:lnTo>
                    <a:pt x="119" y="30"/>
                  </a:lnTo>
                  <a:lnTo>
                    <a:pt x="125" y="24"/>
                  </a:lnTo>
                  <a:lnTo>
                    <a:pt x="137" y="36"/>
                  </a:lnTo>
                  <a:lnTo>
                    <a:pt x="148" y="41"/>
                  </a:lnTo>
                  <a:lnTo>
                    <a:pt x="167" y="24"/>
                  </a:lnTo>
                  <a:lnTo>
                    <a:pt x="167" y="5"/>
                  </a:lnTo>
                  <a:lnTo>
                    <a:pt x="173" y="0"/>
                  </a:lnTo>
                  <a:lnTo>
                    <a:pt x="184" y="18"/>
                  </a:lnTo>
                  <a:lnTo>
                    <a:pt x="201" y="30"/>
                  </a:lnTo>
                  <a:lnTo>
                    <a:pt x="245" y="54"/>
                  </a:lnTo>
                  <a:lnTo>
                    <a:pt x="273" y="77"/>
                  </a:lnTo>
                  <a:lnTo>
                    <a:pt x="309" y="95"/>
                  </a:lnTo>
                  <a:lnTo>
                    <a:pt x="321" y="113"/>
                  </a:lnTo>
                  <a:lnTo>
                    <a:pt x="351" y="131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2" name="Freeform 82"/>
            <p:cNvSpPr>
              <a:spLocks/>
            </p:cNvSpPr>
            <p:nvPr/>
          </p:nvSpPr>
          <p:spPr bwMode="auto">
            <a:xfrm>
              <a:off x="2007" y="3428"/>
              <a:ext cx="620" cy="419"/>
            </a:xfrm>
            <a:custGeom>
              <a:avLst/>
              <a:gdLst>
                <a:gd name="T0" fmla="*/ 11801763 w 501"/>
                <a:gd name="T1" fmla="*/ 452 h 412"/>
                <a:gd name="T2" fmla="*/ 11801763 w 501"/>
                <a:gd name="T3" fmla="*/ 356 h 412"/>
                <a:gd name="T4" fmla="*/ 14151476 w 501"/>
                <a:gd name="T5" fmla="*/ 273 h 412"/>
                <a:gd name="T6" fmla="*/ 15923957 w 501"/>
                <a:gd name="T7" fmla="*/ 264 h 412"/>
                <a:gd name="T8" fmla="*/ 18914480 w 501"/>
                <a:gd name="T9" fmla="*/ 337 h 412"/>
                <a:gd name="T10" fmla="*/ 21931382 w 501"/>
                <a:gd name="T11" fmla="*/ 305 h 412"/>
                <a:gd name="T12" fmla="*/ 24825744 w 501"/>
                <a:gd name="T13" fmla="*/ 264 h 412"/>
                <a:gd name="T14" fmla="*/ 27711810 w 501"/>
                <a:gd name="T15" fmla="*/ 225 h 412"/>
                <a:gd name="T16" fmla="*/ 27157756 w 501"/>
                <a:gd name="T17" fmla="*/ 115 h 412"/>
                <a:gd name="T18" fmla="*/ 30722480 w 501"/>
                <a:gd name="T19" fmla="*/ 91 h 412"/>
                <a:gd name="T20" fmla="*/ 32629119 w 501"/>
                <a:gd name="T21" fmla="*/ 6 h 412"/>
                <a:gd name="T22" fmla="*/ 38545141 w 501"/>
                <a:gd name="T23" fmla="*/ 0 h 412"/>
                <a:gd name="T24" fmla="*/ 42713549 w 501"/>
                <a:gd name="T25" fmla="*/ 19 h 412"/>
                <a:gd name="T26" fmla="*/ 46833497 w 501"/>
                <a:gd name="T27" fmla="*/ 23 h 412"/>
                <a:gd name="T28" fmla="*/ 46833497 w 501"/>
                <a:gd name="T29" fmla="*/ 125 h 412"/>
                <a:gd name="T30" fmla="*/ 48495027 w 501"/>
                <a:gd name="T31" fmla="*/ 137 h 412"/>
                <a:gd name="T32" fmla="*/ 49797655 w 501"/>
                <a:gd name="T33" fmla="*/ 225 h 412"/>
                <a:gd name="T34" fmla="*/ 49797655 w 501"/>
                <a:gd name="T35" fmla="*/ 249 h 412"/>
                <a:gd name="T36" fmla="*/ 48187566 w 501"/>
                <a:gd name="T37" fmla="*/ 356 h 412"/>
                <a:gd name="T38" fmla="*/ 45610822 w 501"/>
                <a:gd name="T39" fmla="*/ 382 h 412"/>
                <a:gd name="T40" fmla="*/ 43279801 w 501"/>
                <a:gd name="T41" fmla="*/ 468 h 412"/>
                <a:gd name="T42" fmla="*/ 42713549 w 501"/>
                <a:gd name="T43" fmla="*/ 620 h 412"/>
                <a:gd name="T44" fmla="*/ 41038109 w 501"/>
                <a:gd name="T45" fmla="*/ 590 h 412"/>
                <a:gd name="T46" fmla="*/ 36638501 w 501"/>
                <a:gd name="T47" fmla="*/ 516 h 412"/>
                <a:gd name="T48" fmla="*/ 31391238 w 501"/>
                <a:gd name="T49" fmla="*/ 516 h 412"/>
                <a:gd name="T50" fmla="*/ 29007132 w 501"/>
                <a:gd name="T51" fmla="*/ 534 h 412"/>
                <a:gd name="T52" fmla="*/ 27157756 w 501"/>
                <a:gd name="T53" fmla="*/ 572 h 412"/>
                <a:gd name="T54" fmla="*/ 27711810 w 501"/>
                <a:gd name="T55" fmla="*/ 590 h 412"/>
                <a:gd name="T56" fmla="*/ 26100969 w 501"/>
                <a:gd name="T57" fmla="*/ 633 h 412"/>
                <a:gd name="T58" fmla="*/ 23777670 w 501"/>
                <a:gd name="T59" fmla="*/ 681 h 412"/>
                <a:gd name="T60" fmla="*/ 23195934 w 501"/>
                <a:gd name="T61" fmla="*/ 798 h 412"/>
                <a:gd name="T62" fmla="*/ 22537413 w 501"/>
                <a:gd name="T63" fmla="*/ 844 h 412"/>
                <a:gd name="T64" fmla="*/ 20852043 w 501"/>
                <a:gd name="T65" fmla="*/ 885 h 412"/>
                <a:gd name="T66" fmla="*/ 21931382 w 501"/>
                <a:gd name="T67" fmla="*/ 978 h 412"/>
                <a:gd name="T68" fmla="*/ 22537413 w 501"/>
                <a:gd name="T69" fmla="*/ 1020 h 412"/>
                <a:gd name="T70" fmla="*/ 21305789 w 501"/>
                <a:gd name="T71" fmla="*/ 1018 h 412"/>
                <a:gd name="T72" fmla="*/ 18347585 w 501"/>
                <a:gd name="T73" fmla="*/ 1003 h 412"/>
                <a:gd name="T74" fmla="*/ 16619129 w 501"/>
                <a:gd name="T75" fmla="*/ 1003 h 412"/>
                <a:gd name="T76" fmla="*/ 14151476 w 501"/>
                <a:gd name="T77" fmla="*/ 1018 h 412"/>
                <a:gd name="T78" fmla="*/ 15923957 w 501"/>
                <a:gd name="T79" fmla="*/ 950 h 412"/>
                <a:gd name="T80" fmla="*/ 14151476 w 501"/>
                <a:gd name="T81" fmla="*/ 934 h 412"/>
                <a:gd name="T82" fmla="*/ 10760430 w 501"/>
                <a:gd name="T83" fmla="*/ 978 h 412"/>
                <a:gd name="T84" fmla="*/ 11282121 w 501"/>
                <a:gd name="T85" fmla="*/ 900 h 412"/>
                <a:gd name="T86" fmla="*/ 10111099 w 501"/>
                <a:gd name="T87" fmla="*/ 870 h 412"/>
                <a:gd name="T88" fmla="*/ 10111099 w 501"/>
                <a:gd name="T89" fmla="*/ 827 h 412"/>
                <a:gd name="T90" fmla="*/ 8242525 w 501"/>
                <a:gd name="T91" fmla="*/ 798 h 412"/>
                <a:gd name="T92" fmla="*/ 11282121 w 501"/>
                <a:gd name="T93" fmla="*/ 798 h 412"/>
                <a:gd name="T94" fmla="*/ 9497177 w 501"/>
                <a:gd name="T95" fmla="*/ 768 h 412"/>
                <a:gd name="T96" fmla="*/ 7822817 w 501"/>
                <a:gd name="T97" fmla="*/ 737 h 412"/>
                <a:gd name="T98" fmla="*/ 6457852 w 501"/>
                <a:gd name="T99" fmla="*/ 710 h 412"/>
                <a:gd name="T100" fmla="*/ 4178201 w 501"/>
                <a:gd name="T101" fmla="*/ 693 h 412"/>
                <a:gd name="T102" fmla="*/ 4178201 w 501"/>
                <a:gd name="T103" fmla="*/ 666 h 412"/>
                <a:gd name="T104" fmla="*/ 7822817 w 501"/>
                <a:gd name="T105" fmla="*/ 572 h 41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501"/>
                <a:gd name="T160" fmla="*/ 0 h 412"/>
                <a:gd name="T161" fmla="*/ 501 w 501"/>
                <a:gd name="T162" fmla="*/ 412 h 412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501" h="412">
                  <a:moveTo>
                    <a:pt x="108" y="203"/>
                  </a:moveTo>
                  <a:lnTo>
                    <a:pt x="119" y="184"/>
                  </a:lnTo>
                  <a:lnTo>
                    <a:pt x="114" y="173"/>
                  </a:lnTo>
                  <a:lnTo>
                    <a:pt x="119" y="143"/>
                  </a:lnTo>
                  <a:lnTo>
                    <a:pt x="131" y="131"/>
                  </a:lnTo>
                  <a:lnTo>
                    <a:pt x="142" y="112"/>
                  </a:lnTo>
                  <a:lnTo>
                    <a:pt x="148" y="89"/>
                  </a:lnTo>
                  <a:lnTo>
                    <a:pt x="161" y="108"/>
                  </a:lnTo>
                  <a:lnTo>
                    <a:pt x="184" y="119"/>
                  </a:lnTo>
                  <a:lnTo>
                    <a:pt x="190" y="137"/>
                  </a:lnTo>
                  <a:lnTo>
                    <a:pt x="209" y="137"/>
                  </a:lnTo>
                  <a:lnTo>
                    <a:pt x="220" y="125"/>
                  </a:lnTo>
                  <a:lnTo>
                    <a:pt x="233" y="112"/>
                  </a:lnTo>
                  <a:lnTo>
                    <a:pt x="250" y="108"/>
                  </a:lnTo>
                  <a:lnTo>
                    <a:pt x="269" y="101"/>
                  </a:lnTo>
                  <a:lnTo>
                    <a:pt x="279" y="89"/>
                  </a:lnTo>
                  <a:lnTo>
                    <a:pt x="286" y="65"/>
                  </a:lnTo>
                  <a:lnTo>
                    <a:pt x="273" y="48"/>
                  </a:lnTo>
                  <a:lnTo>
                    <a:pt x="286" y="48"/>
                  </a:lnTo>
                  <a:lnTo>
                    <a:pt x="309" y="36"/>
                  </a:lnTo>
                  <a:lnTo>
                    <a:pt x="321" y="19"/>
                  </a:lnTo>
                  <a:lnTo>
                    <a:pt x="328" y="6"/>
                  </a:lnTo>
                  <a:lnTo>
                    <a:pt x="351" y="12"/>
                  </a:lnTo>
                  <a:lnTo>
                    <a:pt x="387" y="0"/>
                  </a:lnTo>
                  <a:lnTo>
                    <a:pt x="404" y="12"/>
                  </a:lnTo>
                  <a:lnTo>
                    <a:pt x="429" y="19"/>
                  </a:lnTo>
                  <a:lnTo>
                    <a:pt x="452" y="23"/>
                  </a:lnTo>
                  <a:lnTo>
                    <a:pt x="471" y="23"/>
                  </a:lnTo>
                  <a:lnTo>
                    <a:pt x="476" y="42"/>
                  </a:lnTo>
                  <a:lnTo>
                    <a:pt x="471" y="53"/>
                  </a:lnTo>
                  <a:lnTo>
                    <a:pt x="476" y="55"/>
                  </a:lnTo>
                  <a:lnTo>
                    <a:pt x="488" y="59"/>
                  </a:lnTo>
                  <a:lnTo>
                    <a:pt x="494" y="78"/>
                  </a:lnTo>
                  <a:lnTo>
                    <a:pt x="501" y="89"/>
                  </a:lnTo>
                  <a:lnTo>
                    <a:pt x="488" y="101"/>
                  </a:lnTo>
                  <a:lnTo>
                    <a:pt x="501" y="101"/>
                  </a:lnTo>
                  <a:lnTo>
                    <a:pt x="494" y="125"/>
                  </a:lnTo>
                  <a:lnTo>
                    <a:pt x="484" y="143"/>
                  </a:lnTo>
                  <a:lnTo>
                    <a:pt x="471" y="148"/>
                  </a:lnTo>
                  <a:lnTo>
                    <a:pt x="458" y="154"/>
                  </a:lnTo>
                  <a:lnTo>
                    <a:pt x="440" y="167"/>
                  </a:lnTo>
                  <a:lnTo>
                    <a:pt x="435" y="190"/>
                  </a:lnTo>
                  <a:lnTo>
                    <a:pt x="423" y="233"/>
                  </a:lnTo>
                  <a:lnTo>
                    <a:pt x="429" y="250"/>
                  </a:lnTo>
                  <a:lnTo>
                    <a:pt x="423" y="268"/>
                  </a:lnTo>
                  <a:lnTo>
                    <a:pt x="412" y="238"/>
                  </a:lnTo>
                  <a:lnTo>
                    <a:pt x="387" y="220"/>
                  </a:lnTo>
                  <a:lnTo>
                    <a:pt x="368" y="207"/>
                  </a:lnTo>
                  <a:lnTo>
                    <a:pt x="340" y="203"/>
                  </a:lnTo>
                  <a:lnTo>
                    <a:pt x="315" y="207"/>
                  </a:lnTo>
                  <a:lnTo>
                    <a:pt x="304" y="207"/>
                  </a:lnTo>
                  <a:lnTo>
                    <a:pt x="292" y="215"/>
                  </a:lnTo>
                  <a:lnTo>
                    <a:pt x="292" y="226"/>
                  </a:lnTo>
                  <a:lnTo>
                    <a:pt x="273" y="232"/>
                  </a:lnTo>
                  <a:lnTo>
                    <a:pt x="262" y="238"/>
                  </a:lnTo>
                  <a:lnTo>
                    <a:pt x="279" y="238"/>
                  </a:lnTo>
                  <a:lnTo>
                    <a:pt x="273" y="250"/>
                  </a:lnTo>
                  <a:lnTo>
                    <a:pt x="262" y="256"/>
                  </a:lnTo>
                  <a:lnTo>
                    <a:pt x="243" y="262"/>
                  </a:lnTo>
                  <a:lnTo>
                    <a:pt x="239" y="274"/>
                  </a:lnTo>
                  <a:lnTo>
                    <a:pt x="239" y="304"/>
                  </a:lnTo>
                  <a:lnTo>
                    <a:pt x="233" y="321"/>
                  </a:lnTo>
                  <a:lnTo>
                    <a:pt x="226" y="322"/>
                  </a:lnTo>
                  <a:lnTo>
                    <a:pt x="226" y="340"/>
                  </a:lnTo>
                  <a:lnTo>
                    <a:pt x="209" y="346"/>
                  </a:lnTo>
                  <a:lnTo>
                    <a:pt x="209" y="357"/>
                  </a:lnTo>
                  <a:lnTo>
                    <a:pt x="214" y="376"/>
                  </a:lnTo>
                  <a:lnTo>
                    <a:pt x="220" y="393"/>
                  </a:lnTo>
                  <a:lnTo>
                    <a:pt x="220" y="405"/>
                  </a:lnTo>
                  <a:lnTo>
                    <a:pt x="226" y="412"/>
                  </a:lnTo>
                  <a:lnTo>
                    <a:pt x="220" y="412"/>
                  </a:lnTo>
                  <a:lnTo>
                    <a:pt x="214" y="410"/>
                  </a:lnTo>
                  <a:lnTo>
                    <a:pt x="203" y="405"/>
                  </a:lnTo>
                  <a:lnTo>
                    <a:pt x="184" y="405"/>
                  </a:lnTo>
                  <a:lnTo>
                    <a:pt x="178" y="410"/>
                  </a:lnTo>
                  <a:lnTo>
                    <a:pt x="167" y="405"/>
                  </a:lnTo>
                  <a:lnTo>
                    <a:pt x="155" y="410"/>
                  </a:lnTo>
                  <a:lnTo>
                    <a:pt x="142" y="410"/>
                  </a:lnTo>
                  <a:lnTo>
                    <a:pt x="148" y="393"/>
                  </a:lnTo>
                  <a:lnTo>
                    <a:pt x="161" y="382"/>
                  </a:lnTo>
                  <a:lnTo>
                    <a:pt x="167" y="369"/>
                  </a:lnTo>
                  <a:lnTo>
                    <a:pt x="142" y="376"/>
                  </a:lnTo>
                  <a:lnTo>
                    <a:pt x="125" y="382"/>
                  </a:lnTo>
                  <a:lnTo>
                    <a:pt x="108" y="393"/>
                  </a:lnTo>
                  <a:lnTo>
                    <a:pt x="101" y="387"/>
                  </a:lnTo>
                  <a:lnTo>
                    <a:pt x="114" y="363"/>
                  </a:lnTo>
                  <a:lnTo>
                    <a:pt x="83" y="363"/>
                  </a:lnTo>
                  <a:lnTo>
                    <a:pt x="101" y="351"/>
                  </a:lnTo>
                  <a:lnTo>
                    <a:pt x="108" y="346"/>
                  </a:lnTo>
                  <a:lnTo>
                    <a:pt x="101" y="333"/>
                  </a:lnTo>
                  <a:lnTo>
                    <a:pt x="78" y="327"/>
                  </a:lnTo>
                  <a:lnTo>
                    <a:pt x="83" y="321"/>
                  </a:lnTo>
                  <a:lnTo>
                    <a:pt x="108" y="327"/>
                  </a:lnTo>
                  <a:lnTo>
                    <a:pt x="114" y="321"/>
                  </a:lnTo>
                  <a:lnTo>
                    <a:pt x="114" y="315"/>
                  </a:lnTo>
                  <a:lnTo>
                    <a:pt x="95" y="310"/>
                  </a:lnTo>
                  <a:lnTo>
                    <a:pt x="108" y="298"/>
                  </a:lnTo>
                  <a:lnTo>
                    <a:pt x="78" y="298"/>
                  </a:lnTo>
                  <a:lnTo>
                    <a:pt x="83" y="286"/>
                  </a:lnTo>
                  <a:lnTo>
                    <a:pt x="65" y="286"/>
                  </a:lnTo>
                  <a:lnTo>
                    <a:pt x="72" y="262"/>
                  </a:lnTo>
                  <a:lnTo>
                    <a:pt x="42" y="279"/>
                  </a:lnTo>
                  <a:lnTo>
                    <a:pt x="0" y="298"/>
                  </a:lnTo>
                  <a:lnTo>
                    <a:pt x="42" y="268"/>
                  </a:lnTo>
                  <a:lnTo>
                    <a:pt x="59" y="250"/>
                  </a:lnTo>
                  <a:lnTo>
                    <a:pt x="78" y="232"/>
                  </a:lnTo>
                  <a:lnTo>
                    <a:pt x="108" y="203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3" name="Freeform 83"/>
            <p:cNvSpPr>
              <a:spLocks/>
            </p:cNvSpPr>
            <p:nvPr/>
          </p:nvSpPr>
          <p:spPr bwMode="auto">
            <a:xfrm>
              <a:off x="2604" y="3348"/>
              <a:ext cx="51" cy="104"/>
            </a:xfrm>
            <a:custGeom>
              <a:avLst/>
              <a:gdLst>
                <a:gd name="T0" fmla="*/ 0 w 42"/>
                <a:gd name="T1" fmla="*/ 165 h 102"/>
                <a:gd name="T2" fmla="*/ 0 w 42"/>
                <a:gd name="T3" fmla="*/ 227 h 102"/>
                <a:gd name="T4" fmla="*/ 207028 w 42"/>
                <a:gd name="T5" fmla="*/ 272 h 102"/>
                <a:gd name="T6" fmla="*/ 450103 w 42"/>
                <a:gd name="T7" fmla="*/ 287 h 102"/>
                <a:gd name="T8" fmla="*/ 678777 w 42"/>
                <a:gd name="T9" fmla="*/ 287 h 102"/>
                <a:gd name="T10" fmla="*/ 871433 w 42"/>
                <a:gd name="T11" fmla="*/ 256 h 102"/>
                <a:gd name="T12" fmla="*/ 1493944 w 42"/>
                <a:gd name="T13" fmla="*/ 227 h 102"/>
                <a:gd name="T14" fmla="*/ 1493944 w 42"/>
                <a:gd name="T15" fmla="*/ 204 h 102"/>
                <a:gd name="T16" fmla="*/ 1284920 w 42"/>
                <a:gd name="T17" fmla="*/ 144 h 102"/>
                <a:gd name="T18" fmla="*/ 1284920 w 42"/>
                <a:gd name="T19" fmla="*/ 115 h 102"/>
                <a:gd name="T20" fmla="*/ 1493944 w 42"/>
                <a:gd name="T21" fmla="*/ 19 h 102"/>
                <a:gd name="T22" fmla="*/ 1493944 w 42"/>
                <a:gd name="T23" fmla="*/ 0 h 102"/>
                <a:gd name="T24" fmla="*/ 1284920 w 42"/>
                <a:gd name="T25" fmla="*/ 0 h 102"/>
                <a:gd name="T26" fmla="*/ 678777 w 42"/>
                <a:gd name="T27" fmla="*/ 19 h 102"/>
                <a:gd name="T28" fmla="*/ 450103 w 42"/>
                <a:gd name="T29" fmla="*/ 103 h 102"/>
                <a:gd name="T30" fmla="*/ 450103 w 42"/>
                <a:gd name="T31" fmla="*/ 127 h 102"/>
                <a:gd name="T32" fmla="*/ 0 w 42"/>
                <a:gd name="T33" fmla="*/ 165 h 10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102"/>
                <a:gd name="T53" fmla="*/ 42 w 42"/>
                <a:gd name="T54" fmla="*/ 102 h 10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102">
                  <a:moveTo>
                    <a:pt x="0" y="61"/>
                  </a:moveTo>
                  <a:lnTo>
                    <a:pt x="0" y="78"/>
                  </a:lnTo>
                  <a:lnTo>
                    <a:pt x="6" y="97"/>
                  </a:lnTo>
                  <a:lnTo>
                    <a:pt x="12" y="102"/>
                  </a:lnTo>
                  <a:lnTo>
                    <a:pt x="19" y="102"/>
                  </a:lnTo>
                  <a:lnTo>
                    <a:pt x="25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36" y="54"/>
                  </a:lnTo>
                  <a:lnTo>
                    <a:pt x="36" y="42"/>
                  </a:lnTo>
                  <a:lnTo>
                    <a:pt x="42" y="19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19" y="19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4" name="Freeform 84"/>
            <p:cNvSpPr>
              <a:spLocks/>
            </p:cNvSpPr>
            <p:nvPr/>
          </p:nvSpPr>
          <p:spPr bwMode="auto">
            <a:xfrm>
              <a:off x="1551" y="3985"/>
              <a:ext cx="59" cy="66"/>
            </a:xfrm>
            <a:custGeom>
              <a:avLst/>
              <a:gdLst>
                <a:gd name="T0" fmla="*/ 299385 w 49"/>
                <a:gd name="T1" fmla="*/ 7 h 66"/>
                <a:gd name="T2" fmla="*/ 123687 w 49"/>
                <a:gd name="T3" fmla="*/ 26 h 66"/>
                <a:gd name="T4" fmla="*/ 0 w 49"/>
                <a:gd name="T5" fmla="*/ 42 h 66"/>
                <a:gd name="T6" fmla="*/ 299385 w 49"/>
                <a:gd name="T7" fmla="*/ 49 h 66"/>
                <a:gd name="T8" fmla="*/ 299385 w 49"/>
                <a:gd name="T9" fmla="*/ 66 h 66"/>
                <a:gd name="T10" fmla="*/ 687578 w 49"/>
                <a:gd name="T11" fmla="*/ 61 h 66"/>
                <a:gd name="T12" fmla="*/ 827900 w 49"/>
                <a:gd name="T13" fmla="*/ 49 h 66"/>
                <a:gd name="T14" fmla="*/ 1098553 w 49"/>
                <a:gd name="T15" fmla="*/ 36 h 66"/>
                <a:gd name="T16" fmla="*/ 953979 w 49"/>
                <a:gd name="T17" fmla="*/ 26 h 66"/>
                <a:gd name="T18" fmla="*/ 953979 w 49"/>
                <a:gd name="T19" fmla="*/ 7 h 66"/>
                <a:gd name="T20" fmla="*/ 953979 w 49"/>
                <a:gd name="T21" fmla="*/ 0 h 66"/>
                <a:gd name="T22" fmla="*/ 299385 w 49"/>
                <a:gd name="T23" fmla="*/ 7 h 6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9"/>
                <a:gd name="T37" fmla="*/ 0 h 66"/>
                <a:gd name="T38" fmla="*/ 49 w 49"/>
                <a:gd name="T39" fmla="*/ 66 h 6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9" h="66">
                  <a:moveTo>
                    <a:pt x="13" y="7"/>
                  </a:moveTo>
                  <a:lnTo>
                    <a:pt x="6" y="26"/>
                  </a:lnTo>
                  <a:lnTo>
                    <a:pt x="0" y="42"/>
                  </a:lnTo>
                  <a:lnTo>
                    <a:pt x="13" y="49"/>
                  </a:lnTo>
                  <a:lnTo>
                    <a:pt x="13" y="66"/>
                  </a:lnTo>
                  <a:lnTo>
                    <a:pt x="30" y="61"/>
                  </a:lnTo>
                  <a:lnTo>
                    <a:pt x="36" y="49"/>
                  </a:lnTo>
                  <a:lnTo>
                    <a:pt x="49" y="36"/>
                  </a:lnTo>
                  <a:lnTo>
                    <a:pt x="42" y="26"/>
                  </a:lnTo>
                  <a:lnTo>
                    <a:pt x="42" y="7"/>
                  </a:lnTo>
                  <a:lnTo>
                    <a:pt x="42" y="0"/>
                  </a:lnTo>
                  <a:lnTo>
                    <a:pt x="13" y="7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5" name="Freeform 85"/>
            <p:cNvSpPr>
              <a:spLocks/>
            </p:cNvSpPr>
            <p:nvPr/>
          </p:nvSpPr>
          <p:spPr bwMode="auto">
            <a:xfrm>
              <a:off x="1625" y="3980"/>
              <a:ext cx="43" cy="35"/>
            </a:xfrm>
            <a:custGeom>
              <a:avLst/>
              <a:gdLst>
                <a:gd name="T0" fmla="*/ 0 w 35"/>
                <a:gd name="T1" fmla="*/ 11 h 34"/>
                <a:gd name="T2" fmla="*/ 406129 w 35"/>
                <a:gd name="T3" fmla="*/ 110 h 34"/>
                <a:gd name="T4" fmla="*/ 0 w 35"/>
                <a:gd name="T5" fmla="*/ 150 h 34"/>
                <a:gd name="T6" fmla="*/ 790624 w 35"/>
                <a:gd name="T7" fmla="*/ 134 h 34"/>
                <a:gd name="T8" fmla="*/ 2089357 w 35"/>
                <a:gd name="T9" fmla="*/ 150 h 34"/>
                <a:gd name="T10" fmla="*/ 2344213 w 35"/>
                <a:gd name="T11" fmla="*/ 0 h 34"/>
                <a:gd name="T12" fmla="*/ 0 w 35"/>
                <a:gd name="T13" fmla="*/ 11 h 3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5"/>
                <a:gd name="T22" fmla="*/ 0 h 34"/>
                <a:gd name="T23" fmla="*/ 35 w 35"/>
                <a:gd name="T24" fmla="*/ 34 h 3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5" h="34">
                  <a:moveTo>
                    <a:pt x="0" y="11"/>
                  </a:moveTo>
                  <a:lnTo>
                    <a:pt x="6" y="23"/>
                  </a:lnTo>
                  <a:lnTo>
                    <a:pt x="0" y="34"/>
                  </a:lnTo>
                  <a:lnTo>
                    <a:pt x="12" y="30"/>
                  </a:lnTo>
                  <a:lnTo>
                    <a:pt x="31" y="34"/>
                  </a:lnTo>
                  <a:lnTo>
                    <a:pt x="35" y="0"/>
                  </a:lnTo>
                  <a:lnTo>
                    <a:pt x="0" y="11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6" name="Freeform 86"/>
            <p:cNvSpPr>
              <a:spLocks/>
            </p:cNvSpPr>
            <p:nvPr/>
          </p:nvSpPr>
          <p:spPr bwMode="auto">
            <a:xfrm>
              <a:off x="1292" y="3573"/>
              <a:ext cx="36" cy="61"/>
            </a:xfrm>
            <a:custGeom>
              <a:avLst/>
              <a:gdLst>
                <a:gd name="T0" fmla="*/ 105778 w 30"/>
                <a:gd name="T1" fmla="*/ 100 h 60"/>
                <a:gd name="T2" fmla="*/ 105778 w 30"/>
                <a:gd name="T3" fmla="*/ 24 h 60"/>
                <a:gd name="T4" fmla="*/ 0 w 30"/>
                <a:gd name="T5" fmla="*/ 5 h 60"/>
                <a:gd name="T6" fmla="*/ 0 w 30"/>
                <a:gd name="T7" fmla="*/ 0 h 60"/>
                <a:gd name="T8" fmla="*/ 256342 w 30"/>
                <a:gd name="T9" fmla="*/ 11 h 60"/>
                <a:gd name="T10" fmla="*/ 563726 w 30"/>
                <a:gd name="T11" fmla="*/ 0 h 60"/>
                <a:gd name="T12" fmla="*/ 563726 w 30"/>
                <a:gd name="T13" fmla="*/ 11 h 60"/>
                <a:gd name="T14" fmla="*/ 484228 w 30"/>
                <a:gd name="T15" fmla="*/ 24 h 60"/>
                <a:gd name="T16" fmla="*/ 369132 w 30"/>
                <a:gd name="T17" fmla="*/ 112 h 60"/>
                <a:gd name="T18" fmla="*/ 256342 w 30"/>
                <a:gd name="T19" fmla="*/ 138 h 60"/>
                <a:gd name="T20" fmla="*/ 105778 w 30"/>
                <a:gd name="T21" fmla="*/ 138 h 60"/>
                <a:gd name="T22" fmla="*/ 105778 w 30"/>
                <a:gd name="T23" fmla="*/ 100 h 6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0"/>
                <a:gd name="T37" fmla="*/ 0 h 60"/>
                <a:gd name="T38" fmla="*/ 30 w 30"/>
                <a:gd name="T39" fmla="*/ 60 h 60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0" h="60">
                  <a:moveTo>
                    <a:pt x="6" y="41"/>
                  </a:moveTo>
                  <a:lnTo>
                    <a:pt x="6" y="24"/>
                  </a:lnTo>
                  <a:lnTo>
                    <a:pt x="0" y="5"/>
                  </a:lnTo>
                  <a:lnTo>
                    <a:pt x="0" y="0"/>
                  </a:lnTo>
                  <a:lnTo>
                    <a:pt x="13" y="11"/>
                  </a:lnTo>
                  <a:lnTo>
                    <a:pt x="30" y="0"/>
                  </a:lnTo>
                  <a:lnTo>
                    <a:pt x="30" y="11"/>
                  </a:lnTo>
                  <a:lnTo>
                    <a:pt x="26" y="24"/>
                  </a:lnTo>
                  <a:lnTo>
                    <a:pt x="19" y="47"/>
                  </a:lnTo>
                  <a:lnTo>
                    <a:pt x="13" y="60"/>
                  </a:lnTo>
                  <a:lnTo>
                    <a:pt x="6" y="60"/>
                  </a:lnTo>
                  <a:lnTo>
                    <a:pt x="6" y="41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7" name="Freeform 87"/>
            <p:cNvSpPr>
              <a:spLocks/>
            </p:cNvSpPr>
            <p:nvPr/>
          </p:nvSpPr>
          <p:spPr bwMode="auto">
            <a:xfrm>
              <a:off x="1301" y="3487"/>
              <a:ext cx="52" cy="79"/>
            </a:xfrm>
            <a:custGeom>
              <a:avLst/>
              <a:gdLst>
                <a:gd name="T0" fmla="*/ 0 w 42"/>
                <a:gd name="T1" fmla="*/ 146 h 78"/>
                <a:gd name="T2" fmla="*/ 604987 w 42"/>
                <a:gd name="T3" fmla="*/ 122 h 78"/>
                <a:gd name="T4" fmla="*/ 0 w 42"/>
                <a:gd name="T5" fmla="*/ 103 h 78"/>
                <a:gd name="T6" fmla="*/ 604987 w 42"/>
                <a:gd name="T7" fmla="*/ 96 h 78"/>
                <a:gd name="T8" fmla="*/ 0 w 42"/>
                <a:gd name="T9" fmla="*/ 25 h 78"/>
                <a:gd name="T10" fmla="*/ 2326072 w 42"/>
                <a:gd name="T11" fmla="*/ 0 h 78"/>
                <a:gd name="T12" fmla="*/ 4260981 w 42"/>
                <a:gd name="T13" fmla="*/ 0 h 78"/>
                <a:gd name="T14" fmla="*/ 4260981 w 42"/>
                <a:gd name="T15" fmla="*/ 6 h 78"/>
                <a:gd name="T16" fmla="*/ 2971580 w 42"/>
                <a:gd name="T17" fmla="*/ 13 h 78"/>
                <a:gd name="T18" fmla="*/ 3679099 w 42"/>
                <a:gd name="T19" fmla="*/ 30 h 78"/>
                <a:gd name="T20" fmla="*/ 2326072 w 42"/>
                <a:gd name="T21" fmla="*/ 103 h 78"/>
                <a:gd name="T22" fmla="*/ 2326072 w 42"/>
                <a:gd name="T23" fmla="*/ 114 h 78"/>
                <a:gd name="T24" fmla="*/ 3679099 w 42"/>
                <a:gd name="T25" fmla="*/ 146 h 78"/>
                <a:gd name="T26" fmla="*/ 2009204 w 42"/>
                <a:gd name="T27" fmla="*/ 134 h 78"/>
                <a:gd name="T28" fmla="*/ 0 w 42"/>
                <a:gd name="T29" fmla="*/ 146 h 7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2"/>
                <a:gd name="T46" fmla="*/ 0 h 78"/>
                <a:gd name="T47" fmla="*/ 42 w 42"/>
                <a:gd name="T48" fmla="*/ 78 h 7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2" h="78">
                  <a:moveTo>
                    <a:pt x="0" y="78"/>
                  </a:moveTo>
                  <a:lnTo>
                    <a:pt x="6" y="66"/>
                  </a:lnTo>
                  <a:lnTo>
                    <a:pt x="0" y="49"/>
                  </a:lnTo>
                  <a:lnTo>
                    <a:pt x="6" y="42"/>
                  </a:lnTo>
                  <a:lnTo>
                    <a:pt x="0" y="25"/>
                  </a:lnTo>
                  <a:lnTo>
                    <a:pt x="23" y="0"/>
                  </a:lnTo>
                  <a:lnTo>
                    <a:pt x="42" y="0"/>
                  </a:lnTo>
                  <a:lnTo>
                    <a:pt x="42" y="6"/>
                  </a:lnTo>
                  <a:lnTo>
                    <a:pt x="29" y="13"/>
                  </a:lnTo>
                  <a:lnTo>
                    <a:pt x="36" y="30"/>
                  </a:lnTo>
                  <a:lnTo>
                    <a:pt x="23" y="49"/>
                  </a:lnTo>
                  <a:lnTo>
                    <a:pt x="23" y="60"/>
                  </a:lnTo>
                  <a:lnTo>
                    <a:pt x="36" y="78"/>
                  </a:lnTo>
                  <a:lnTo>
                    <a:pt x="19" y="72"/>
                  </a:lnTo>
                  <a:lnTo>
                    <a:pt x="0" y="78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8" name="Freeform 88"/>
            <p:cNvSpPr>
              <a:spLocks/>
            </p:cNvSpPr>
            <p:nvPr/>
          </p:nvSpPr>
          <p:spPr bwMode="auto">
            <a:xfrm>
              <a:off x="3195" y="2341"/>
              <a:ext cx="94" cy="140"/>
            </a:xfrm>
            <a:custGeom>
              <a:avLst/>
              <a:gdLst>
                <a:gd name="T0" fmla="*/ 499698 w 77"/>
                <a:gd name="T1" fmla="*/ 164 h 137"/>
                <a:gd name="T2" fmla="*/ 1109829 w 77"/>
                <a:gd name="T3" fmla="*/ 127 h 137"/>
                <a:gd name="T4" fmla="*/ 1439779 w 77"/>
                <a:gd name="T5" fmla="*/ 85 h 137"/>
                <a:gd name="T6" fmla="*/ 2523657 w 77"/>
                <a:gd name="T7" fmla="*/ 0 h 137"/>
                <a:gd name="T8" fmla="*/ 2523657 w 77"/>
                <a:gd name="T9" fmla="*/ 6 h 137"/>
                <a:gd name="T10" fmla="*/ 2231552 w 77"/>
                <a:gd name="T11" fmla="*/ 145 h 137"/>
                <a:gd name="T12" fmla="*/ 1933950 w 77"/>
                <a:gd name="T13" fmla="*/ 184 h 137"/>
                <a:gd name="T14" fmla="*/ 2231552 w 77"/>
                <a:gd name="T15" fmla="*/ 213 h 137"/>
                <a:gd name="T16" fmla="*/ 2523657 w 77"/>
                <a:gd name="T17" fmla="*/ 184 h 137"/>
                <a:gd name="T18" fmla="*/ 3197147 w 77"/>
                <a:gd name="T19" fmla="*/ 164 h 137"/>
                <a:gd name="T20" fmla="*/ 3673486 w 77"/>
                <a:gd name="T21" fmla="*/ 148 h 137"/>
                <a:gd name="T22" fmla="*/ 3673486 w 77"/>
                <a:gd name="T23" fmla="*/ 164 h 137"/>
                <a:gd name="T24" fmla="*/ 3673486 w 77"/>
                <a:gd name="T25" fmla="*/ 213 h 137"/>
                <a:gd name="T26" fmla="*/ 3435026 w 77"/>
                <a:gd name="T27" fmla="*/ 266 h 137"/>
                <a:gd name="T28" fmla="*/ 3197147 w 77"/>
                <a:gd name="T29" fmla="*/ 301 h 137"/>
                <a:gd name="T30" fmla="*/ 2845368 w 77"/>
                <a:gd name="T31" fmla="*/ 368 h 137"/>
                <a:gd name="T32" fmla="*/ 2231552 w 77"/>
                <a:gd name="T33" fmla="*/ 404 h 137"/>
                <a:gd name="T34" fmla="*/ 1109829 w 77"/>
                <a:gd name="T35" fmla="*/ 437 h 137"/>
                <a:gd name="T36" fmla="*/ 850101 w 77"/>
                <a:gd name="T37" fmla="*/ 437 h 137"/>
                <a:gd name="T38" fmla="*/ 1439779 w 77"/>
                <a:gd name="T39" fmla="*/ 387 h 137"/>
                <a:gd name="T40" fmla="*/ 1757323 w 77"/>
                <a:gd name="T41" fmla="*/ 301 h 137"/>
                <a:gd name="T42" fmla="*/ 1439779 w 77"/>
                <a:gd name="T43" fmla="*/ 301 h 137"/>
                <a:gd name="T44" fmla="*/ 499698 w 77"/>
                <a:gd name="T45" fmla="*/ 323 h 137"/>
                <a:gd name="T46" fmla="*/ 0 w 77"/>
                <a:gd name="T47" fmla="*/ 301 h 137"/>
                <a:gd name="T48" fmla="*/ 499698 w 77"/>
                <a:gd name="T49" fmla="*/ 164 h 13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77"/>
                <a:gd name="T76" fmla="*/ 0 h 137"/>
                <a:gd name="T77" fmla="*/ 77 w 77"/>
                <a:gd name="T78" fmla="*/ 137 h 13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77" h="137">
                  <a:moveTo>
                    <a:pt x="11" y="54"/>
                  </a:moveTo>
                  <a:lnTo>
                    <a:pt x="24" y="42"/>
                  </a:lnTo>
                  <a:lnTo>
                    <a:pt x="30" y="23"/>
                  </a:lnTo>
                  <a:lnTo>
                    <a:pt x="53" y="0"/>
                  </a:lnTo>
                  <a:lnTo>
                    <a:pt x="53" y="6"/>
                  </a:lnTo>
                  <a:lnTo>
                    <a:pt x="47" y="48"/>
                  </a:lnTo>
                  <a:lnTo>
                    <a:pt x="41" y="59"/>
                  </a:lnTo>
                  <a:lnTo>
                    <a:pt x="47" y="66"/>
                  </a:lnTo>
                  <a:lnTo>
                    <a:pt x="53" y="59"/>
                  </a:lnTo>
                  <a:lnTo>
                    <a:pt x="66" y="54"/>
                  </a:lnTo>
                  <a:lnTo>
                    <a:pt x="77" y="49"/>
                  </a:lnTo>
                  <a:lnTo>
                    <a:pt x="77" y="54"/>
                  </a:lnTo>
                  <a:lnTo>
                    <a:pt x="77" y="66"/>
                  </a:lnTo>
                  <a:lnTo>
                    <a:pt x="72" y="84"/>
                  </a:lnTo>
                  <a:lnTo>
                    <a:pt x="66" y="95"/>
                  </a:lnTo>
                  <a:lnTo>
                    <a:pt x="60" y="114"/>
                  </a:lnTo>
                  <a:lnTo>
                    <a:pt x="47" y="126"/>
                  </a:lnTo>
                  <a:lnTo>
                    <a:pt x="24" y="137"/>
                  </a:lnTo>
                  <a:lnTo>
                    <a:pt x="17" y="137"/>
                  </a:lnTo>
                  <a:lnTo>
                    <a:pt x="30" y="120"/>
                  </a:lnTo>
                  <a:lnTo>
                    <a:pt x="36" y="95"/>
                  </a:lnTo>
                  <a:lnTo>
                    <a:pt x="30" y="95"/>
                  </a:lnTo>
                  <a:lnTo>
                    <a:pt x="11" y="102"/>
                  </a:lnTo>
                  <a:lnTo>
                    <a:pt x="0" y="95"/>
                  </a:lnTo>
                  <a:lnTo>
                    <a:pt x="11" y="54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59" name="Freeform 89"/>
            <p:cNvSpPr>
              <a:spLocks/>
            </p:cNvSpPr>
            <p:nvPr/>
          </p:nvSpPr>
          <p:spPr bwMode="auto">
            <a:xfrm>
              <a:off x="4313" y="548"/>
              <a:ext cx="183" cy="224"/>
            </a:xfrm>
            <a:custGeom>
              <a:avLst/>
              <a:gdLst>
                <a:gd name="T0" fmla="*/ 0 w 148"/>
                <a:gd name="T1" fmla="*/ 489 h 220"/>
                <a:gd name="T2" fmla="*/ 563020 w 148"/>
                <a:gd name="T3" fmla="*/ 455 h 220"/>
                <a:gd name="T4" fmla="*/ 2367013 w 148"/>
                <a:gd name="T5" fmla="*/ 408 h 220"/>
                <a:gd name="T6" fmla="*/ 3990458 w 148"/>
                <a:gd name="T7" fmla="*/ 310 h 220"/>
                <a:gd name="T8" fmla="*/ 3463334 w 148"/>
                <a:gd name="T9" fmla="*/ 276 h 220"/>
                <a:gd name="T10" fmla="*/ 3990458 w 148"/>
                <a:gd name="T11" fmla="*/ 237 h 220"/>
                <a:gd name="T12" fmla="*/ 5100375 w 148"/>
                <a:gd name="T13" fmla="*/ 178 h 220"/>
                <a:gd name="T14" fmla="*/ 5542299 w 148"/>
                <a:gd name="T15" fmla="*/ 163 h 220"/>
                <a:gd name="T16" fmla="*/ 6306541 w 148"/>
                <a:gd name="T17" fmla="*/ 93 h 220"/>
                <a:gd name="T18" fmla="*/ 6306541 w 148"/>
                <a:gd name="T19" fmla="*/ 11 h 220"/>
                <a:gd name="T20" fmla="*/ 8093352 w 148"/>
                <a:gd name="T21" fmla="*/ 0 h 220"/>
                <a:gd name="T22" fmla="*/ 8996417 w 148"/>
                <a:gd name="T23" fmla="*/ 0 h 220"/>
                <a:gd name="T24" fmla="*/ 10305332 w 148"/>
                <a:gd name="T25" fmla="*/ 11 h 220"/>
                <a:gd name="T26" fmla="*/ 11922272 w 148"/>
                <a:gd name="T27" fmla="*/ 0 h 220"/>
                <a:gd name="T28" fmla="*/ 11922272 w 148"/>
                <a:gd name="T29" fmla="*/ 6 h 220"/>
                <a:gd name="T30" fmla="*/ 14052243 w 148"/>
                <a:gd name="T31" fmla="*/ 0 h 220"/>
                <a:gd name="T32" fmla="*/ 12378347 w 148"/>
                <a:gd name="T33" fmla="*/ 23 h 220"/>
                <a:gd name="T34" fmla="*/ 11364656 w 148"/>
                <a:gd name="T35" fmla="*/ 93 h 220"/>
                <a:gd name="T36" fmla="*/ 10305332 w 148"/>
                <a:gd name="T37" fmla="*/ 109 h 220"/>
                <a:gd name="T38" fmla="*/ 8459332 w 148"/>
                <a:gd name="T39" fmla="*/ 131 h 220"/>
                <a:gd name="T40" fmla="*/ 7399219 w 148"/>
                <a:gd name="T41" fmla="*/ 163 h 220"/>
                <a:gd name="T42" fmla="*/ 6306541 w 148"/>
                <a:gd name="T43" fmla="*/ 249 h 220"/>
                <a:gd name="T44" fmla="*/ 5542299 w 148"/>
                <a:gd name="T45" fmla="*/ 296 h 220"/>
                <a:gd name="T46" fmla="*/ 5542299 w 148"/>
                <a:gd name="T47" fmla="*/ 365 h 220"/>
                <a:gd name="T48" fmla="*/ 5100375 w 148"/>
                <a:gd name="T49" fmla="*/ 408 h 220"/>
                <a:gd name="T50" fmla="*/ 3990458 w 148"/>
                <a:gd name="T51" fmla="*/ 395 h 220"/>
                <a:gd name="T52" fmla="*/ 3463334 w 148"/>
                <a:gd name="T53" fmla="*/ 422 h 220"/>
                <a:gd name="T54" fmla="*/ 3463334 w 148"/>
                <a:gd name="T55" fmla="*/ 439 h 220"/>
                <a:gd name="T56" fmla="*/ 2883541 w 148"/>
                <a:gd name="T57" fmla="*/ 520 h 220"/>
                <a:gd name="T58" fmla="*/ 3463334 w 148"/>
                <a:gd name="T59" fmla="*/ 534 h 220"/>
                <a:gd name="T60" fmla="*/ 3463334 w 148"/>
                <a:gd name="T61" fmla="*/ 565 h 220"/>
                <a:gd name="T62" fmla="*/ 2367013 w 148"/>
                <a:gd name="T63" fmla="*/ 579 h 220"/>
                <a:gd name="T64" fmla="*/ 1764637 w 148"/>
                <a:gd name="T65" fmla="*/ 536 h 220"/>
                <a:gd name="T66" fmla="*/ 1252082 w 148"/>
                <a:gd name="T67" fmla="*/ 565 h 220"/>
                <a:gd name="T68" fmla="*/ 0 w 148"/>
                <a:gd name="T69" fmla="*/ 565 h 220"/>
                <a:gd name="T70" fmla="*/ 0 w 148"/>
                <a:gd name="T71" fmla="*/ 489 h 22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8"/>
                <a:gd name="T109" fmla="*/ 0 h 220"/>
                <a:gd name="T110" fmla="*/ 148 w 148"/>
                <a:gd name="T111" fmla="*/ 220 h 22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8" h="220">
                  <a:moveTo>
                    <a:pt x="0" y="185"/>
                  </a:moveTo>
                  <a:lnTo>
                    <a:pt x="6" y="173"/>
                  </a:lnTo>
                  <a:lnTo>
                    <a:pt x="25" y="155"/>
                  </a:lnTo>
                  <a:lnTo>
                    <a:pt x="42" y="119"/>
                  </a:lnTo>
                  <a:lnTo>
                    <a:pt x="36" y="106"/>
                  </a:lnTo>
                  <a:lnTo>
                    <a:pt x="42" y="89"/>
                  </a:lnTo>
                  <a:lnTo>
                    <a:pt x="53" y="70"/>
                  </a:lnTo>
                  <a:lnTo>
                    <a:pt x="59" y="65"/>
                  </a:lnTo>
                  <a:lnTo>
                    <a:pt x="66" y="34"/>
                  </a:lnTo>
                  <a:lnTo>
                    <a:pt x="66" y="11"/>
                  </a:lnTo>
                  <a:lnTo>
                    <a:pt x="84" y="0"/>
                  </a:lnTo>
                  <a:lnTo>
                    <a:pt x="95" y="0"/>
                  </a:lnTo>
                  <a:lnTo>
                    <a:pt x="108" y="11"/>
                  </a:lnTo>
                  <a:lnTo>
                    <a:pt x="125" y="0"/>
                  </a:lnTo>
                  <a:lnTo>
                    <a:pt x="125" y="6"/>
                  </a:lnTo>
                  <a:lnTo>
                    <a:pt x="148" y="0"/>
                  </a:lnTo>
                  <a:lnTo>
                    <a:pt x="131" y="23"/>
                  </a:lnTo>
                  <a:lnTo>
                    <a:pt x="120" y="34"/>
                  </a:lnTo>
                  <a:lnTo>
                    <a:pt x="108" y="42"/>
                  </a:lnTo>
                  <a:lnTo>
                    <a:pt x="89" y="53"/>
                  </a:lnTo>
                  <a:lnTo>
                    <a:pt x="78" y="65"/>
                  </a:lnTo>
                  <a:lnTo>
                    <a:pt x="66" y="95"/>
                  </a:lnTo>
                  <a:lnTo>
                    <a:pt x="59" y="114"/>
                  </a:lnTo>
                  <a:lnTo>
                    <a:pt x="59" y="137"/>
                  </a:lnTo>
                  <a:lnTo>
                    <a:pt x="53" y="155"/>
                  </a:lnTo>
                  <a:lnTo>
                    <a:pt x="42" y="150"/>
                  </a:lnTo>
                  <a:lnTo>
                    <a:pt x="36" y="160"/>
                  </a:lnTo>
                  <a:lnTo>
                    <a:pt x="36" y="167"/>
                  </a:lnTo>
                  <a:lnTo>
                    <a:pt x="30" y="196"/>
                  </a:lnTo>
                  <a:lnTo>
                    <a:pt x="36" y="201"/>
                  </a:lnTo>
                  <a:lnTo>
                    <a:pt x="36" y="214"/>
                  </a:lnTo>
                  <a:lnTo>
                    <a:pt x="25" y="220"/>
                  </a:lnTo>
                  <a:lnTo>
                    <a:pt x="19" y="203"/>
                  </a:lnTo>
                  <a:lnTo>
                    <a:pt x="13" y="214"/>
                  </a:lnTo>
                  <a:lnTo>
                    <a:pt x="0" y="214"/>
                  </a:lnTo>
                  <a:lnTo>
                    <a:pt x="0" y="185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0" name="Freeform 90"/>
            <p:cNvSpPr>
              <a:spLocks/>
            </p:cNvSpPr>
            <p:nvPr/>
          </p:nvSpPr>
          <p:spPr bwMode="auto">
            <a:xfrm>
              <a:off x="4438" y="795"/>
              <a:ext cx="18" cy="13"/>
            </a:xfrm>
            <a:custGeom>
              <a:avLst/>
              <a:gdLst>
                <a:gd name="T0" fmla="*/ 0 w 12"/>
                <a:gd name="T1" fmla="*/ 6 h 13"/>
                <a:gd name="T2" fmla="*/ 0 w 12"/>
                <a:gd name="T3" fmla="*/ 13 h 13"/>
                <a:gd name="T4" fmla="*/ 2147483647 w 12"/>
                <a:gd name="T5" fmla="*/ 13 h 13"/>
                <a:gd name="T6" fmla="*/ 2147483647 w 12"/>
                <a:gd name="T7" fmla="*/ 6 h 13"/>
                <a:gd name="T8" fmla="*/ 2147483647 w 12"/>
                <a:gd name="T9" fmla="*/ 0 h 13"/>
                <a:gd name="T10" fmla="*/ 0 w 12"/>
                <a:gd name="T11" fmla="*/ 6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13"/>
                <a:gd name="T20" fmla="*/ 12 w 12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13">
                  <a:moveTo>
                    <a:pt x="0" y="6"/>
                  </a:moveTo>
                  <a:lnTo>
                    <a:pt x="0" y="13"/>
                  </a:lnTo>
                  <a:lnTo>
                    <a:pt x="12" y="13"/>
                  </a:lnTo>
                  <a:lnTo>
                    <a:pt x="12" y="6"/>
                  </a:lnTo>
                  <a:lnTo>
                    <a:pt x="6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1" name="Freeform 91"/>
            <p:cNvSpPr>
              <a:spLocks/>
            </p:cNvSpPr>
            <p:nvPr/>
          </p:nvSpPr>
          <p:spPr bwMode="auto">
            <a:xfrm>
              <a:off x="4484" y="765"/>
              <a:ext cx="12" cy="25"/>
            </a:xfrm>
            <a:custGeom>
              <a:avLst/>
              <a:gdLst>
                <a:gd name="T0" fmla="*/ 88148 w 10"/>
                <a:gd name="T1" fmla="*/ 0 h 26"/>
                <a:gd name="T2" fmla="*/ 0 w 10"/>
                <a:gd name="T3" fmla="*/ 7 h 26"/>
                <a:gd name="T4" fmla="*/ 0 w 10"/>
                <a:gd name="T5" fmla="*/ 13 h 26"/>
                <a:gd name="T6" fmla="*/ 88148 w 10"/>
                <a:gd name="T7" fmla="*/ 13 h 26"/>
                <a:gd name="T8" fmla="*/ 182785 w 10"/>
                <a:gd name="T9" fmla="*/ 13 h 26"/>
                <a:gd name="T10" fmla="*/ 182785 w 10"/>
                <a:gd name="T11" fmla="*/ 7 h 26"/>
                <a:gd name="T12" fmla="*/ 88148 w 10"/>
                <a:gd name="T13" fmla="*/ 0 h 2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0"/>
                <a:gd name="T22" fmla="*/ 0 h 26"/>
                <a:gd name="T23" fmla="*/ 10 w 10"/>
                <a:gd name="T24" fmla="*/ 26 h 2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0" h="26">
                  <a:moveTo>
                    <a:pt x="5" y="0"/>
                  </a:moveTo>
                  <a:lnTo>
                    <a:pt x="0" y="7"/>
                  </a:lnTo>
                  <a:lnTo>
                    <a:pt x="0" y="19"/>
                  </a:lnTo>
                  <a:lnTo>
                    <a:pt x="5" y="26"/>
                  </a:lnTo>
                  <a:lnTo>
                    <a:pt x="10" y="19"/>
                  </a:lnTo>
                  <a:lnTo>
                    <a:pt x="10" y="7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2" name="Freeform 92"/>
            <p:cNvSpPr>
              <a:spLocks/>
            </p:cNvSpPr>
            <p:nvPr/>
          </p:nvSpPr>
          <p:spPr bwMode="auto">
            <a:xfrm>
              <a:off x="4484" y="808"/>
              <a:ext cx="12" cy="13"/>
            </a:xfrm>
            <a:custGeom>
              <a:avLst/>
              <a:gdLst>
                <a:gd name="T0" fmla="*/ 88148 w 10"/>
                <a:gd name="T1" fmla="*/ 0 h 12"/>
                <a:gd name="T2" fmla="*/ 0 w 10"/>
                <a:gd name="T3" fmla="*/ 0 h 12"/>
                <a:gd name="T4" fmla="*/ 0 w 10"/>
                <a:gd name="T5" fmla="*/ 544 h 12"/>
                <a:gd name="T6" fmla="*/ 88148 w 10"/>
                <a:gd name="T7" fmla="*/ 879 h 12"/>
                <a:gd name="T8" fmla="*/ 182785 w 10"/>
                <a:gd name="T9" fmla="*/ 544 h 12"/>
                <a:gd name="T10" fmla="*/ 88148 w 10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"/>
                <a:gd name="T19" fmla="*/ 0 h 12"/>
                <a:gd name="T20" fmla="*/ 10 w 10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" h="12">
                  <a:moveTo>
                    <a:pt x="5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5" y="12"/>
                  </a:lnTo>
                  <a:lnTo>
                    <a:pt x="10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3" name="Freeform 93"/>
            <p:cNvSpPr>
              <a:spLocks/>
            </p:cNvSpPr>
            <p:nvPr/>
          </p:nvSpPr>
          <p:spPr bwMode="auto">
            <a:xfrm>
              <a:off x="4505" y="741"/>
              <a:ext cx="16" cy="11"/>
            </a:xfrm>
            <a:custGeom>
              <a:avLst/>
              <a:gdLst>
                <a:gd name="T0" fmla="*/ 0 w 11"/>
                <a:gd name="T1" fmla="*/ 6 h 11"/>
                <a:gd name="T2" fmla="*/ 0 w 11"/>
                <a:gd name="T3" fmla="*/ 11 h 11"/>
                <a:gd name="T4" fmla="*/ 2147483647 w 11"/>
                <a:gd name="T5" fmla="*/ 11 h 11"/>
                <a:gd name="T6" fmla="*/ 2147483647 w 11"/>
                <a:gd name="T7" fmla="*/ 0 h 11"/>
                <a:gd name="T8" fmla="*/ 0 w 11"/>
                <a:gd name="T9" fmla="*/ 6 h 1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"/>
                <a:gd name="T16" fmla="*/ 0 h 11"/>
                <a:gd name="T17" fmla="*/ 11 w 11"/>
                <a:gd name="T18" fmla="*/ 11 h 1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" h="11">
                  <a:moveTo>
                    <a:pt x="0" y="6"/>
                  </a:moveTo>
                  <a:lnTo>
                    <a:pt x="0" y="11"/>
                  </a:lnTo>
                  <a:lnTo>
                    <a:pt x="11" y="11"/>
                  </a:lnTo>
                  <a:lnTo>
                    <a:pt x="11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4" name="Freeform 94"/>
            <p:cNvSpPr>
              <a:spLocks/>
            </p:cNvSpPr>
            <p:nvPr/>
          </p:nvSpPr>
          <p:spPr bwMode="auto">
            <a:xfrm>
              <a:off x="4563" y="655"/>
              <a:ext cx="51" cy="44"/>
            </a:xfrm>
            <a:custGeom>
              <a:avLst/>
              <a:gdLst>
                <a:gd name="T0" fmla="*/ 3314533 w 40"/>
                <a:gd name="T1" fmla="*/ 511 h 42"/>
                <a:gd name="T2" fmla="*/ 0 w 40"/>
                <a:gd name="T3" fmla="*/ 445 h 42"/>
                <a:gd name="T4" fmla="*/ 3314533 w 40"/>
                <a:gd name="T5" fmla="*/ 221 h 42"/>
                <a:gd name="T6" fmla="*/ 12392970 w 40"/>
                <a:gd name="T7" fmla="*/ 6 h 42"/>
                <a:gd name="T8" fmla="*/ 19938233 w 40"/>
                <a:gd name="T9" fmla="*/ 0 h 42"/>
                <a:gd name="T10" fmla="*/ 19938233 w 40"/>
                <a:gd name="T11" fmla="*/ 8 h 42"/>
                <a:gd name="T12" fmla="*/ 17655933 w 40"/>
                <a:gd name="T13" fmla="*/ 293 h 42"/>
                <a:gd name="T14" fmla="*/ 14313405 w 40"/>
                <a:gd name="T15" fmla="*/ 293 h 42"/>
                <a:gd name="T16" fmla="*/ 12392970 w 40"/>
                <a:gd name="T17" fmla="*/ 511 h 42"/>
                <a:gd name="T18" fmla="*/ 3314533 w 40"/>
                <a:gd name="T19" fmla="*/ 511 h 4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42"/>
                <a:gd name="T32" fmla="*/ 40 w 40"/>
                <a:gd name="T33" fmla="*/ 42 h 4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42">
                  <a:moveTo>
                    <a:pt x="6" y="42"/>
                  </a:moveTo>
                  <a:lnTo>
                    <a:pt x="0" y="36"/>
                  </a:lnTo>
                  <a:lnTo>
                    <a:pt x="6" y="19"/>
                  </a:lnTo>
                  <a:lnTo>
                    <a:pt x="25" y="6"/>
                  </a:lnTo>
                  <a:lnTo>
                    <a:pt x="40" y="0"/>
                  </a:lnTo>
                  <a:lnTo>
                    <a:pt x="40" y="8"/>
                  </a:lnTo>
                  <a:lnTo>
                    <a:pt x="35" y="25"/>
                  </a:lnTo>
                  <a:lnTo>
                    <a:pt x="29" y="25"/>
                  </a:lnTo>
                  <a:lnTo>
                    <a:pt x="25" y="42"/>
                  </a:lnTo>
                  <a:lnTo>
                    <a:pt x="6" y="42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5" name="Freeform 95"/>
            <p:cNvSpPr>
              <a:spLocks/>
            </p:cNvSpPr>
            <p:nvPr/>
          </p:nvSpPr>
          <p:spPr bwMode="auto">
            <a:xfrm>
              <a:off x="4551" y="391"/>
              <a:ext cx="101" cy="138"/>
            </a:xfrm>
            <a:custGeom>
              <a:avLst/>
              <a:gdLst>
                <a:gd name="T0" fmla="*/ 3035821 w 82"/>
                <a:gd name="T1" fmla="*/ 0 h 135"/>
                <a:gd name="T2" fmla="*/ 2773704 w 82"/>
                <a:gd name="T3" fmla="*/ 10 h 135"/>
                <a:gd name="T4" fmla="*/ 2148367 w 82"/>
                <a:gd name="T5" fmla="*/ 98 h 135"/>
                <a:gd name="T6" fmla="*/ 1314325 w 82"/>
                <a:gd name="T7" fmla="*/ 108 h 135"/>
                <a:gd name="T8" fmla="*/ 1314325 w 82"/>
                <a:gd name="T9" fmla="*/ 123 h 135"/>
                <a:gd name="T10" fmla="*/ 2148367 w 82"/>
                <a:gd name="T11" fmla="*/ 141 h 135"/>
                <a:gd name="T12" fmla="*/ 2773704 w 82"/>
                <a:gd name="T13" fmla="*/ 187 h 135"/>
                <a:gd name="T14" fmla="*/ 2148367 w 82"/>
                <a:gd name="T15" fmla="*/ 233 h 135"/>
                <a:gd name="T16" fmla="*/ 1314325 w 82"/>
                <a:gd name="T17" fmla="*/ 248 h 135"/>
                <a:gd name="T18" fmla="*/ 866339 w 82"/>
                <a:gd name="T19" fmla="*/ 248 h 135"/>
                <a:gd name="T20" fmla="*/ 866339 w 82"/>
                <a:gd name="T21" fmla="*/ 266 h 135"/>
                <a:gd name="T22" fmla="*/ 1314325 w 82"/>
                <a:gd name="T23" fmla="*/ 284 h 135"/>
                <a:gd name="T24" fmla="*/ 866339 w 82"/>
                <a:gd name="T25" fmla="*/ 287 h 135"/>
                <a:gd name="T26" fmla="*/ 0 w 82"/>
                <a:gd name="T27" fmla="*/ 287 h 135"/>
                <a:gd name="T28" fmla="*/ 0 w 82"/>
                <a:gd name="T29" fmla="*/ 321 h 135"/>
                <a:gd name="T30" fmla="*/ 376407 w 82"/>
                <a:gd name="T31" fmla="*/ 346 h 135"/>
                <a:gd name="T32" fmla="*/ 376407 w 82"/>
                <a:gd name="T33" fmla="*/ 370 h 135"/>
                <a:gd name="T34" fmla="*/ 0 w 82"/>
                <a:gd name="T35" fmla="*/ 387 h 135"/>
                <a:gd name="T36" fmla="*/ 0 w 82"/>
                <a:gd name="T37" fmla="*/ 422 h 135"/>
                <a:gd name="T38" fmla="*/ 866339 w 82"/>
                <a:gd name="T39" fmla="*/ 441 h 135"/>
                <a:gd name="T40" fmla="*/ 1744219 w 82"/>
                <a:gd name="T41" fmla="*/ 387 h 135"/>
                <a:gd name="T42" fmla="*/ 1744219 w 82"/>
                <a:gd name="T43" fmla="*/ 321 h 135"/>
                <a:gd name="T44" fmla="*/ 2773704 w 82"/>
                <a:gd name="T45" fmla="*/ 287 h 135"/>
                <a:gd name="T46" fmla="*/ 3035821 w 82"/>
                <a:gd name="T47" fmla="*/ 266 h 135"/>
                <a:gd name="T48" fmla="*/ 3607114 w 82"/>
                <a:gd name="T49" fmla="*/ 287 h 135"/>
                <a:gd name="T50" fmla="*/ 3942944 w 82"/>
                <a:gd name="T51" fmla="*/ 266 h 135"/>
                <a:gd name="T52" fmla="*/ 4097619 w 82"/>
                <a:gd name="T53" fmla="*/ 213 h 135"/>
                <a:gd name="T54" fmla="*/ 4097619 w 82"/>
                <a:gd name="T55" fmla="*/ 141 h 135"/>
                <a:gd name="T56" fmla="*/ 4944681 w 82"/>
                <a:gd name="T57" fmla="*/ 98 h 135"/>
                <a:gd name="T58" fmla="*/ 6327167 w 82"/>
                <a:gd name="T59" fmla="*/ 17 h 135"/>
                <a:gd name="T60" fmla="*/ 6327167 w 82"/>
                <a:gd name="T61" fmla="*/ 0 h 135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2"/>
                <a:gd name="T94" fmla="*/ 0 h 135"/>
                <a:gd name="T95" fmla="*/ 82 w 82"/>
                <a:gd name="T96" fmla="*/ 135 h 135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2" h="135">
                  <a:moveTo>
                    <a:pt x="40" y="0"/>
                  </a:moveTo>
                  <a:lnTo>
                    <a:pt x="36" y="10"/>
                  </a:lnTo>
                  <a:lnTo>
                    <a:pt x="28" y="29"/>
                  </a:lnTo>
                  <a:lnTo>
                    <a:pt x="17" y="34"/>
                  </a:lnTo>
                  <a:lnTo>
                    <a:pt x="17" y="40"/>
                  </a:lnTo>
                  <a:lnTo>
                    <a:pt x="28" y="46"/>
                  </a:lnTo>
                  <a:lnTo>
                    <a:pt x="36" y="59"/>
                  </a:lnTo>
                  <a:lnTo>
                    <a:pt x="28" y="70"/>
                  </a:lnTo>
                  <a:lnTo>
                    <a:pt x="17" y="76"/>
                  </a:lnTo>
                  <a:lnTo>
                    <a:pt x="11" y="76"/>
                  </a:lnTo>
                  <a:lnTo>
                    <a:pt x="11" y="82"/>
                  </a:lnTo>
                  <a:lnTo>
                    <a:pt x="17" y="88"/>
                  </a:lnTo>
                  <a:lnTo>
                    <a:pt x="11" y="89"/>
                  </a:lnTo>
                  <a:lnTo>
                    <a:pt x="0" y="89"/>
                  </a:lnTo>
                  <a:lnTo>
                    <a:pt x="0" y="99"/>
                  </a:lnTo>
                  <a:lnTo>
                    <a:pt x="5" y="106"/>
                  </a:lnTo>
                  <a:lnTo>
                    <a:pt x="5" y="112"/>
                  </a:lnTo>
                  <a:lnTo>
                    <a:pt x="0" y="118"/>
                  </a:lnTo>
                  <a:lnTo>
                    <a:pt x="0" y="129"/>
                  </a:lnTo>
                  <a:lnTo>
                    <a:pt x="11" y="135"/>
                  </a:lnTo>
                  <a:lnTo>
                    <a:pt x="23" y="118"/>
                  </a:lnTo>
                  <a:lnTo>
                    <a:pt x="23" y="99"/>
                  </a:lnTo>
                  <a:lnTo>
                    <a:pt x="36" y="89"/>
                  </a:lnTo>
                  <a:lnTo>
                    <a:pt x="40" y="82"/>
                  </a:lnTo>
                  <a:lnTo>
                    <a:pt x="47" y="89"/>
                  </a:lnTo>
                  <a:lnTo>
                    <a:pt x="51" y="82"/>
                  </a:lnTo>
                  <a:lnTo>
                    <a:pt x="53" y="65"/>
                  </a:lnTo>
                  <a:lnTo>
                    <a:pt x="53" y="46"/>
                  </a:lnTo>
                  <a:lnTo>
                    <a:pt x="64" y="29"/>
                  </a:lnTo>
                  <a:lnTo>
                    <a:pt x="82" y="17"/>
                  </a:lnTo>
                  <a:lnTo>
                    <a:pt x="82" y="0"/>
                  </a:lnTo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6" name="Freeform 96"/>
            <p:cNvSpPr>
              <a:spLocks/>
            </p:cNvSpPr>
            <p:nvPr/>
          </p:nvSpPr>
          <p:spPr bwMode="auto">
            <a:xfrm>
              <a:off x="3679" y="3124"/>
              <a:ext cx="23" cy="23"/>
            </a:xfrm>
            <a:custGeom>
              <a:avLst/>
              <a:gdLst>
                <a:gd name="T0" fmla="*/ 7589999 w 18"/>
                <a:gd name="T1" fmla="*/ 0 h 23"/>
                <a:gd name="T2" fmla="*/ 3999684 w 18"/>
                <a:gd name="T3" fmla="*/ 0 h 23"/>
                <a:gd name="T4" fmla="*/ 0 w 18"/>
                <a:gd name="T5" fmla="*/ 6 h 23"/>
                <a:gd name="T6" fmla="*/ 0 w 18"/>
                <a:gd name="T7" fmla="*/ 12 h 23"/>
                <a:gd name="T8" fmla="*/ 3999684 w 18"/>
                <a:gd name="T9" fmla="*/ 17 h 23"/>
                <a:gd name="T10" fmla="*/ 3999684 w 18"/>
                <a:gd name="T11" fmla="*/ 23 h 23"/>
                <a:gd name="T12" fmla="*/ 9905505 w 18"/>
                <a:gd name="T13" fmla="*/ 23 h 23"/>
                <a:gd name="T14" fmla="*/ 9905505 w 18"/>
                <a:gd name="T15" fmla="*/ 6 h 23"/>
                <a:gd name="T16" fmla="*/ 7589999 w 18"/>
                <a:gd name="T17" fmla="*/ 0 h 2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8"/>
                <a:gd name="T28" fmla="*/ 0 h 23"/>
                <a:gd name="T29" fmla="*/ 18 w 18"/>
                <a:gd name="T30" fmla="*/ 23 h 2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8" h="23">
                  <a:moveTo>
                    <a:pt x="13" y="0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7" y="17"/>
                  </a:lnTo>
                  <a:lnTo>
                    <a:pt x="7" y="23"/>
                  </a:lnTo>
                  <a:lnTo>
                    <a:pt x="18" y="23"/>
                  </a:lnTo>
                  <a:lnTo>
                    <a:pt x="18" y="6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7" name="Rectangle 97"/>
            <p:cNvSpPr>
              <a:spLocks noChangeArrowheads="1"/>
            </p:cNvSpPr>
            <p:nvPr/>
          </p:nvSpPr>
          <p:spPr bwMode="auto">
            <a:xfrm>
              <a:off x="3679" y="3197"/>
              <a:ext cx="10" cy="4"/>
            </a:xfrm>
            <a:prstGeom prst="rect">
              <a:avLst/>
            </a:prstGeom>
            <a:solidFill>
              <a:srgbClr val="CCFF66"/>
            </a:solidFill>
            <a:ln w="9525">
              <a:solidFill>
                <a:srgbClr val="E4FFC9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8" name="Freeform 98"/>
            <p:cNvSpPr>
              <a:spLocks/>
            </p:cNvSpPr>
            <p:nvPr/>
          </p:nvSpPr>
          <p:spPr bwMode="auto">
            <a:xfrm>
              <a:off x="3679" y="3220"/>
              <a:ext cx="17" cy="13"/>
            </a:xfrm>
            <a:custGeom>
              <a:avLst/>
              <a:gdLst>
                <a:gd name="T0" fmla="*/ 13639358 w 13"/>
                <a:gd name="T1" fmla="*/ 0 h 12"/>
                <a:gd name="T2" fmla="*/ 0 w 13"/>
                <a:gd name="T3" fmla="*/ 0 h 12"/>
                <a:gd name="T4" fmla="*/ 0 w 13"/>
                <a:gd name="T5" fmla="*/ 879 h 12"/>
                <a:gd name="T6" fmla="*/ 13639358 w 13"/>
                <a:gd name="T7" fmla="*/ 879 h 12"/>
                <a:gd name="T8" fmla="*/ 25319311 w 13"/>
                <a:gd name="T9" fmla="*/ 589 h 12"/>
                <a:gd name="T10" fmla="*/ 13639358 w 13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12"/>
                <a:gd name="T20" fmla="*/ 13 w 13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12">
                  <a:moveTo>
                    <a:pt x="7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7" y="12"/>
                  </a:lnTo>
                  <a:lnTo>
                    <a:pt x="13" y="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69" name="Freeform 99"/>
            <p:cNvSpPr>
              <a:spLocks/>
            </p:cNvSpPr>
            <p:nvPr/>
          </p:nvSpPr>
          <p:spPr bwMode="auto">
            <a:xfrm>
              <a:off x="3657" y="3264"/>
              <a:ext cx="15" cy="18"/>
            </a:xfrm>
            <a:custGeom>
              <a:avLst/>
              <a:gdLst>
                <a:gd name="T0" fmla="*/ 2068179 w 12"/>
                <a:gd name="T1" fmla="*/ 0 h 18"/>
                <a:gd name="T2" fmla="*/ 0 w 12"/>
                <a:gd name="T3" fmla="*/ 11 h 18"/>
                <a:gd name="T4" fmla="*/ 0 w 12"/>
                <a:gd name="T5" fmla="*/ 18 h 18"/>
                <a:gd name="T6" fmla="*/ 1122166 w 12"/>
                <a:gd name="T7" fmla="*/ 18 h 18"/>
                <a:gd name="T8" fmla="*/ 2068179 w 12"/>
                <a:gd name="T9" fmla="*/ 11 h 18"/>
                <a:gd name="T10" fmla="*/ 2068179 w 12"/>
                <a:gd name="T11" fmla="*/ 6 h 18"/>
                <a:gd name="T12" fmla="*/ 2068179 w 12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2"/>
                <a:gd name="T22" fmla="*/ 0 h 18"/>
                <a:gd name="T23" fmla="*/ 12 w 12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2" h="18">
                  <a:moveTo>
                    <a:pt x="12" y="0"/>
                  </a:moveTo>
                  <a:lnTo>
                    <a:pt x="0" y="11"/>
                  </a:lnTo>
                  <a:lnTo>
                    <a:pt x="0" y="18"/>
                  </a:lnTo>
                  <a:lnTo>
                    <a:pt x="6" y="18"/>
                  </a:lnTo>
                  <a:lnTo>
                    <a:pt x="12" y="11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0" name="Freeform 100"/>
            <p:cNvSpPr>
              <a:spLocks/>
            </p:cNvSpPr>
            <p:nvPr/>
          </p:nvSpPr>
          <p:spPr bwMode="auto">
            <a:xfrm>
              <a:off x="3747" y="3275"/>
              <a:ext cx="23" cy="20"/>
            </a:xfrm>
            <a:custGeom>
              <a:avLst/>
              <a:gdLst>
                <a:gd name="T0" fmla="*/ 404005 w 19"/>
                <a:gd name="T1" fmla="*/ 0 h 19"/>
                <a:gd name="T2" fmla="*/ 0 w 19"/>
                <a:gd name="T3" fmla="*/ 0 h 19"/>
                <a:gd name="T4" fmla="*/ 0 w 19"/>
                <a:gd name="T5" fmla="*/ 209 h 19"/>
                <a:gd name="T6" fmla="*/ 216399 w 19"/>
                <a:gd name="T7" fmla="*/ 285 h 19"/>
                <a:gd name="T8" fmla="*/ 592019 w 19"/>
                <a:gd name="T9" fmla="*/ 7 h 19"/>
                <a:gd name="T10" fmla="*/ 404005 w 19"/>
                <a:gd name="T11" fmla="*/ 0 h 19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9"/>
                <a:gd name="T19" fmla="*/ 0 h 19"/>
                <a:gd name="T20" fmla="*/ 19 w 19"/>
                <a:gd name="T21" fmla="*/ 19 h 19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9" h="19">
                  <a:moveTo>
                    <a:pt x="13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7" y="19"/>
                  </a:lnTo>
                  <a:lnTo>
                    <a:pt x="19" y="7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1" name="Freeform 101"/>
            <p:cNvSpPr>
              <a:spLocks/>
            </p:cNvSpPr>
            <p:nvPr/>
          </p:nvSpPr>
          <p:spPr bwMode="auto">
            <a:xfrm>
              <a:off x="3783" y="3330"/>
              <a:ext cx="15" cy="13"/>
            </a:xfrm>
            <a:custGeom>
              <a:avLst/>
              <a:gdLst>
                <a:gd name="T0" fmla="*/ 29575 w 13"/>
                <a:gd name="T1" fmla="*/ 0 h 13"/>
                <a:gd name="T2" fmla="*/ 0 w 13"/>
                <a:gd name="T3" fmla="*/ 0 h 13"/>
                <a:gd name="T4" fmla="*/ 0 w 13"/>
                <a:gd name="T5" fmla="*/ 7 h 13"/>
                <a:gd name="T6" fmla="*/ 13296 w 13"/>
                <a:gd name="T7" fmla="*/ 13 h 13"/>
                <a:gd name="T8" fmla="*/ 29575 w 13"/>
                <a:gd name="T9" fmla="*/ 7 h 13"/>
                <a:gd name="T10" fmla="*/ 29575 w 13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13"/>
                <a:gd name="T20" fmla="*/ 13 w 13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13">
                  <a:moveTo>
                    <a:pt x="13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6" y="13"/>
                  </a:lnTo>
                  <a:lnTo>
                    <a:pt x="13" y="7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2" name="Freeform 102"/>
            <p:cNvSpPr>
              <a:spLocks/>
            </p:cNvSpPr>
            <p:nvPr/>
          </p:nvSpPr>
          <p:spPr bwMode="auto">
            <a:xfrm>
              <a:off x="3879" y="3487"/>
              <a:ext cx="31" cy="19"/>
            </a:xfrm>
            <a:custGeom>
              <a:avLst/>
              <a:gdLst>
                <a:gd name="T0" fmla="*/ 17144395 w 24"/>
                <a:gd name="T1" fmla="*/ 0 h 19"/>
                <a:gd name="T2" fmla="*/ 0 w 24"/>
                <a:gd name="T3" fmla="*/ 0 h 19"/>
                <a:gd name="T4" fmla="*/ 0 w 24"/>
                <a:gd name="T5" fmla="*/ 13 h 19"/>
                <a:gd name="T6" fmla="*/ 6159148 w 24"/>
                <a:gd name="T7" fmla="*/ 19 h 19"/>
                <a:gd name="T8" fmla="*/ 17144395 w 24"/>
                <a:gd name="T9" fmla="*/ 19 h 19"/>
                <a:gd name="T10" fmla="*/ 24316981 w 24"/>
                <a:gd name="T11" fmla="*/ 13 h 19"/>
                <a:gd name="T12" fmla="*/ 24316981 w 24"/>
                <a:gd name="T13" fmla="*/ 6 h 19"/>
                <a:gd name="T14" fmla="*/ 17144395 w 24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4"/>
                <a:gd name="T25" fmla="*/ 0 h 19"/>
                <a:gd name="T26" fmla="*/ 24 w 24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4" h="19">
                  <a:moveTo>
                    <a:pt x="17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6" y="19"/>
                  </a:lnTo>
                  <a:lnTo>
                    <a:pt x="17" y="19"/>
                  </a:lnTo>
                  <a:lnTo>
                    <a:pt x="24" y="13"/>
                  </a:lnTo>
                  <a:lnTo>
                    <a:pt x="24" y="6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3" name="Freeform 103"/>
            <p:cNvSpPr>
              <a:spLocks/>
            </p:cNvSpPr>
            <p:nvPr/>
          </p:nvSpPr>
          <p:spPr bwMode="auto">
            <a:xfrm>
              <a:off x="1512" y="4174"/>
              <a:ext cx="23" cy="30"/>
            </a:xfrm>
            <a:custGeom>
              <a:avLst/>
              <a:gdLst>
                <a:gd name="T0" fmla="*/ 3999684 w 18"/>
                <a:gd name="T1" fmla="*/ 0 h 30"/>
                <a:gd name="T2" fmla="*/ 0 w 18"/>
                <a:gd name="T3" fmla="*/ 11 h 30"/>
                <a:gd name="T4" fmla="*/ 0 w 18"/>
                <a:gd name="T5" fmla="*/ 23 h 30"/>
                <a:gd name="T6" fmla="*/ 3999684 w 18"/>
                <a:gd name="T7" fmla="*/ 30 h 30"/>
                <a:gd name="T8" fmla="*/ 9905505 w 18"/>
                <a:gd name="T9" fmla="*/ 11 h 30"/>
                <a:gd name="T10" fmla="*/ 7589999 w 18"/>
                <a:gd name="T11" fmla="*/ 0 h 30"/>
                <a:gd name="T12" fmla="*/ 3999684 w 18"/>
                <a:gd name="T13" fmla="*/ 0 h 3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8"/>
                <a:gd name="T22" fmla="*/ 0 h 30"/>
                <a:gd name="T23" fmla="*/ 18 w 18"/>
                <a:gd name="T24" fmla="*/ 30 h 3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8" h="30">
                  <a:moveTo>
                    <a:pt x="7" y="0"/>
                  </a:moveTo>
                  <a:lnTo>
                    <a:pt x="0" y="11"/>
                  </a:lnTo>
                  <a:lnTo>
                    <a:pt x="0" y="23"/>
                  </a:lnTo>
                  <a:lnTo>
                    <a:pt x="7" y="30"/>
                  </a:lnTo>
                  <a:lnTo>
                    <a:pt x="18" y="11"/>
                  </a:lnTo>
                  <a:lnTo>
                    <a:pt x="13" y="0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4" name="Freeform 104"/>
            <p:cNvSpPr>
              <a:spLocks/>
            </p:cNvSpPr>
            <p:nvPr/>
          </p:nvSpPr>
          <p:spPr bwMode="auto">
            <a:xfrm>
              <a:off x="1535" y="4137"/>
              <a:ext cx="31" cy="11"/>
            </a:xfrm>
            <a:custGeom>
              <a:avLst/>
              <a:gdLst>
                <a:gd name="T0" fmla="*/ 2162389 w 25"/>
                <a:gd name="T1" fmla="*/ 0 h 11"/>
                <a:gd name="T2" fmla="*/ 914633 w 25"/>
                <a:gd name="T3" fmla="*/ 0 h 11"/>
                <a:gd name="T4" fmla="*/ 0 w 25"/>
                <a:gd name="T5" fmla="*/ 6 h 11"/>
                <a:gd name="T6" fmla="*/ 914633 w 25"/>
                <a:gd name="T7" fmla="*/ 11 h 11"/>
                <a:gd name="T8" fmla="*/ 2162389 w 25"/>
                <a:gd name="T9" fmla="*/ 11 h 11"/>
                <a:gd name="T10" fmla="*/ 2701167 w 25"/>
                <a:gd name="T11" fmla="*/ 6 h 11"/>
                <a:gd name="T12" fmla="*/ 2162389 w 25"/>
                <a:gd name="T13" fmla="*/ 0 h 11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5"/>
                <a:gd name="T22" fmla="*/ 0 h 11"/>
                <a:gd name="T23" fmla="*/ 25 w 25"/>
                <a:gd name="T24" fmla="*/ 11 h 11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5" h="11">
                  <a:moveTo>
                    <a:pt x="19" y="0"/>
                  </a:moveTo>
                  <a:lnTo>
                    <a:pt x="8" y="0"/>
                  </a:lnTo>
                  <a:lnTo>
                    <a:pt x="0" y="6"/>
                  </a:lnTo>
                  <a:lnTo>
                    <a:pt x="8" y="11"/>
                  </a:lnTo>
                  <a:lnTo>
                    <a:pt x="19" y="11"/>
                  </a:lnTo>
                  <a:lnTo>
                    <a:pt x="25" y="6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5" name="Freeform 105"/>
            <p:cNvSpPr>
              <a:spLocks/>
            </p:cNvSpPr>
            <p:nvPr/>
          </p:nvSpPr>
          <p:spPr bwMode="auto">
            <a:xfrm>
              <a:off x="1590" y="4064"/>
              <a:ext cx="11" cy="18"/>
            </a:xfrm>
            <a:custGeom>
              <a:avLst/>
              <a:gdLst>
                <a:gd name="T0" fmla="*/ 1599 w 10"/>
                <a:gd name="T1" fmla="*/ 0 h 18"/>
                <a:gd name="T2" fmla="*/ 4 w 10"/>
                <a:gd name="T3" fmla="*/ 0 h 18"/>
                <a:gd name="T4" fmla="*/ 0 w 10"/>
                <a:gd name="T5" fmla="*/ 5 h 18"/>
                <a:gd name="T6" fmla="*/ 0 w 10"/>
                <a:gd name="T7" fmla="*/ 18 h 18"/>
                <a:gd name="T8" fmla="*/ 4 w 10"/>
                <a:gd name="T9" fmla="*/ 18 h 18"/>
                <a:gd name="T10" fmla="*/ 1599 w 10"/>
                <a:gd name="T11" fmla="*/ 12 h 18"/>
                <a:gd name="T12" fmla="*/ 1599 w 10"/>
                <a:gd name="T13" fmla="*/ 5 h 18"/>
                <a:gd name="T14" fmla="*/ 1599 w 10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0"/>
                <a:gd name="T25" fmla="*/ 0 h 18"/>
                <a:gd name="T26" fmla="*/ 10 w 10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0" h="18">
                  <a:moveTo>
                    <a:pt x="10" y="0"/>
                  </a:moveTo>
                  <a:lnTo>
                    <a:pt x="4" y="0"/>
                  </a:lnTo>
                  <a:lnTo>
                    <a:pt x="0" y="5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10" y="12"/>
                  </a:lnTo>
                  <a:lnTo>
                    <a:pt x="10" y="5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6" name="Freeform 106"/>
            <p:cNvSpPr>
              <a:spLocks/>
            </p:cNvSpPr>
            <p:nvPr/>
          </p:nvSpPr>
          <p:spPr bwMode="auto">
            <a:xfrm>
              <a:off x="1601" y="4034"/>
              <a:ext cx="17" cy="12"/>
            </a:xfrm>
            <a:custGeom>
              <a:avLst/>
              <a:gdLst>
                <a:gd name="T0" fmla="*/ 25319311 w 13"/>
                <a:gd name="T1" fmla="*/ 0 h 12"/>
                <a:gd name="T2" fmla="*/ 13639358 w 13"/>
                <a:gd name="T3" fmla="*/ 0 h 12"/>
                <a:gd name="T4" fmla="*/ 0 w 13"/>
                <a:gd name="T5" fmla="*/ 6 h 12"/>
                <a:gd name="T6" fmla="*/ 13639358 w 13"/>
                <a:gd name="T7" fmla="*/ 12 h 12"/>
                <a:gd name="T8" fmla="*/ 25319311 w 13"/>
                <a:gd name="T9" fmla="*/ 12 h 12"/>
                <a:gd name="T10" fmla="*/ 25319311 w 13"/>
                <a:gd name="T11" fmla="*/ 6 h 12"/>
                <a:gd name="T12" fmla="*/ 25319311 w 13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2"/>
                <a:gd name="T23" fmla="*/ 13 w 13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2">
                  <a:moveTo>
                    <a:pt x="13" y="0"/>
                  </a:moveTo>
                  <a:lnTo>
                    <a:pt x="7" y="0"/>
                  </a:lnTo>
                  <a:lnTo>
                    <a:pt x="0" y="6"/>
                  </a:lnTo>
                  <a:lnTo>
                    <a:pt x="7" y="12"/>
                  </a:lnTo>
                  <a:lnTo>
                    <a:pt x="13" y="12"/>
                  </a:lnTo>
                  <a:lnTo>
                    <a:pt x="13" y="6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7" name="Freeform 107"/>
            <p:cNvSpPr>
              <a:spLocks/>
            </p:cNvSpPr>
            <p:nvPr/>
          </p:nvSpPr>
          <p:spPr bwMode="auto">
            <a:xfrm>
              <a:off x="1648" y="3961"/>
              <a:ext cx="15" cy="13"/>
            </a:xfrm>
            <a:custGeom>
              <a:avLst/>
              <a:gdLst>
                <a:gd name="T0" fmla="*/ 15342 w 13"/>
                <a:gd name="T1" fmla="*/ 0 h 13"/>
                <a:gd name="T2" fmla="*/ 0 w 13"/>
                <a:gd name="T3" fmla="*/ 0 h 13"/>
                <a:gd name="T4" fmla="*/ 0 w 13"/>
                <a:gd name="T5" fmla="*/ 13 h 13"/>
                <a:gd name="T6" fmla="*/ 15342 w 13"/>
                <a:gd name="T7" fmla="*/ 13 h 13"/>
                <a:gd name="T8" fmla="*/ 29575 w 13"/>
                <a:gd name="T9" fmla="*/ 6 h 13"/>
                <a:gd name="T10" fmla="*/ 15342 w 13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13"/>
                <a:gd name="T20" fmla="*/ 13 w 13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13">
                  <a:moveTo>
                    <a:pt x="7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7" y="13"/>
                  </a:lnTo>
                  <a:lnTo>
                    <a:pt x="13" y="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8" name="Freeform 108"/>
            <p:cNvSpPr>
              <a:spLocks/>
            </p:cNvSpPr>
            <p:nvPr/>
          </p:nvSpPr>
          <p:spPr bwMode="auto">
            <a:xfrm>
              <a:off x="1212" y="3949"/>
              <a:ext cx="67" cy="55"/>
            </a:xfrm>
            <a:custGeom>
              <a:avLst/>
              <a:gdLst>
                <a:gd name="T0" fmla="*/ 1316447 w 55"/>
                <a:gd name="T1" fmla="*/ 0 h 53"/>
                <a:gd name="T2" fmla="*/ 1073068 w 55"/>
                <a:gd name="T3" fmla="*/ 5 h 53"/>
                <a:gd name="T4" fmla="*/ 788752 w 55"/>
                <a:gd name="T5" fmla="*/ 5 h 53"/>
                <a:gd name="T6" fmla="*/ 524816 w 55"/>
                <a:gd name="T7" fmla="*/ 11 h 53"/>
                <a:gd name="T8" fmla="*/ 241361 w 55"/>
                <a:gd name="T9" fmla="*/ 5 h 53"/>
                <a:gd name="T10" fmla="*/ 0 w 55"/>
                <a:gd name="T11" fmla="*/ 5 h 53"/>
                <a:gd name="T12" fmla="*/ 0 w 55"/>
                <a:gd name="T13" fmla="*/ 128 h 53"/>
                <a:gd name="T14" fmla="*/ 241361 w 55"/>
                <a:gd name="T15" fmla="*/ 166 h 53"/>
                <a:gd name="T16" fmla="*/ 241361 w 55"/>
                <a:gd name="T17" fmla="*/ 345 h 53"/>
                <a:gd name="T18" fmla="*/ 524816 w 55"/>
                <a:gd name="T19" fmla="*/ 386 h 53"/>
                <a:gd name="T20" fmla="*/ 788752 w 55"/>
                <a:gd name="T21" fmla="*/ 345 h 53"/>
                <a:gd name="T22" fmla="*/ 1531472 w 55"/>
                <a:gd name="T23" fmla="*/ 345 h 53"/>
                <a:gd name="T24" fmla="*/ 1804103 w 55"/>
                <a:gd name="T25" fmla="*/ 308 h 53"/>
                <a:gd name="T26" fmla="*/ 2024856 w 55"/>
                <a:gd name="T27" fmla="*/ 308 h 53"/>
                <a:gd name="T28" fmla="*/ 2024856 w 55"/>
                <a:gd name="T29" fmla="*/ 240 h 53"/>
                <a:gd name="T30" fmla="*/ 2363066 w 55"/>
                <a:gd name="T31" fmla="*/ 207 h 53"/>
                <a:gd name="T32" fmla="*/ 2363066 w 55"/>
                <a:gd name="T33" fmla="*/ 166 h 53"/>
                <a:gd name="T34" fmla="*/ 2024856 w 55"/>
                <a:gd name="T35" fmla="*/ 166 h 53"/>
                <a:gd name="T36" fmla="*/ 1531472 w 55"/>
                <a:gd name="T37" fmla="*/ 11 h 53"/>
                <a:gd name="T38" fmla="*/ 1531472 w 55"/>
                <a:gd name="T39" fmla="*/ 5 h 53"/>
                <a:gd name="T40" fmla="*/ 1316447 w 55"/>
                <a:gd name="T41" fmla="*/ 0 h 5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5"/>
                <a:gd name="T64" fmla="*/ 0 h 53"/>
                <a:gd name="T65" fmla="*/ 55 w 55"/>
                <a:gd name="T66" fmla="*/ 53 h 5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5" h="53">
                  <a:moveTo>
                    <a:pt x="31" y="0"/>
                  </a:moveTo>
                  <a:lnTo>
                    <a:pt x="25" y="5"/>
                  </a:lnTo>
                  <a:lnTo>
                    <a:pt x="19" y="5"/>
                  </a:lnTo>
                  <a:lnTo>
                    <a:pt x="12" y="11"/>
                  </a:lnTo>
                  <a:lnTo>
                    <a:pt x="6" y="5"/>
                  </a:lnTo>
                  <a:lnTo>
                    <a:pt x="0" y="5"/>
                  </a:lnTo>
                  <a:lnTo>
                    <a:pt x="0" y="17"/>
                  </a:lnTo>
                  <a:lnTo>
                    <a:pt x="6" y="24"/>
                  </a:lnTo>
                  <a:lnTo>
                    <a:pt x="6" y="47"/>
                  </a:lnTo>
                  <a:lnTo>
                    <a:pt x="12" y="53"/>
                  </a:lnTo>
                  <a:lnTo>
                    <a:pt x="19" y="47"/>
                  </a:lnTo>
                  <a:lnTo>
                    <a:pt x="36" y="47"/>
                  </a:lnTo>
                  <a:lnTo>
                    <a:pt x="42" y="41"/>
                  </a:lnTo>
                  <a:lnTo>
                    <a:pt x="48" y="41"/>
                  </a:lnTo>
                  <a:lnTo>
                    <a:pt x="48" y="34"/>
                  </a:lnTo>
                  <a:lnTo>
                    <a:pt x="55" y="30"/>
                  </a:lnTo>
                  <a:lnTo>
                    <a:pt x="55" y="24"/>
                  </a:lnTo>
                  <a:lnTo>
                    <a:pt x="48" y="24"/>
                  </a:lnTo>
                  <a:lnTo>
                    <a:pt x="36" y="11"/>
                  </a:lnTo>
                  <a:lnTo>
                    <a:pt x="36" y="5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79" name="Freeform 109"/>
            <p:cNvSpPr>
              <a:spLocks/>
            </p:cNvSpPr>
            <p:nvPr/>
          </p:nvSpPr>
          <p:spPr bwMode="auto">
            <a:xfrm>
              <a:off x="1301" y="3850"/>
              <a:ext cx="35" cy="80"/>
            </a:xfrm>
            <a:custGeom>
              <a:avLst/>
              <a:gdLst>
                <a:gd name="T0" fmla="*/ 299997 w 29"/>
                <a:gd name="T1" fmla="*/ 0 h 78"/>
                <a:gd name="T2" fmla="*/ 299997 w 29"/>
                <a:gd name="T3" fmla="*/ 120 h 78"/>
                <a:gd name="T4" fmla="*/ 0 w 29"/>
                <a:gd name="T5" fmla="*/ 154 h 78"/>
                <a:gd name="T6" fmla="*/ 0 w 29"/>
                <a:gd name="T7" fmla="*/ 183 h 78"/>
                <a:gd name="T8" fmla="*/ 299997 w 29"/>
                <a:gd name="T9" fmla="*/ 242 h 78"/>
                <a:gd name="T10" fmla="*/ 299997 w 29"/>
                <a:gd name="T11" fmla="*/ 280 h 78"/>
                <a:gd name="T12" fmla="*/ 492909 w 29"/>
                <a:gd name="T13" fmla="*/ 302 h 78"/>
                <a:gd name="T14" fmla="*/ 594890 w 29"/>
                <a:gd name="T15" fmla="*/ 213 h 78"/>
                <a:gd name="T16" fmla="*/ 757704 w 29"/>
                <a:gd name="T17" fmla="*/ 183 h 78"/>
                <a:gd name="T18" fmla="*/ 757704 w 29"/>
                <a:gd name="T19" fmla="*/ 154 h 78"/>
                <a:gd name="T20" fmla="*/ 492909 w 29"/>
                <a:gd name="T21" fmla="*/ 132 h 78"/>
                <a:gd name="T22" fmla="*/ 492909 w 29"/>
                <a:gd name="T23" fmla="*/ 99 h 78"/>
                <a:gd name="T24" fmla="*/ 299997 w 29"/>
                <a:gd name="T25" fmla="*/ 0 h 7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9"/>
                <a:gd name="T40" fmla="*/ 0 h 78"/>
                <a:gd name="T41" fmla="*/ 29 w 29"/>
                <a:gd name="T42" fmla="*/ 78 h 7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9" h="78">
                  <a:moveTo>
                    <a:pt x="12" y="0"/>
                  </a:moveTo>
                  <a:lnTo>
                    <a:pt x="12" y="32"/>
                  </a:lnTo>
                  <a:lnTo>
                    <a:pt x="0" y="42"/>
                  </a:lnTo>
                  <a:lnTo>
                    <a:pt x="0" y="49"/>
                  </a:lnTo>
                  <a:lnTo>
                    <a:pt x="12" y="61"/>
                  </a:lnTo>
                  <a:lnTo>
                    <a:pt x="12" y="72"/>
                  </a:lnTo>
                  <a:lnTo>
                    <a:pt x="19" y="78"/>
                  </a:lnTo>
                  <a:lnTo>
                    <a:pt x="23" y="55"/>
                  </a:lnTo>
                  <a:lnTo>
                    <a:pt x="29" y="49"/>
                  </a:lnTo>
                  <a:lnTo>
                    <a:pt x="29" y="42"/>
                  </a:lnTo>
                  <a:lnTo>
                    <a:pt x="19" y="36"/>
                  </a:lnTo>
                  <a:lnTo>
                    <a:pt x="19" y="25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0" name="Freeform 110"/>
            <p:cNvSpPr>
              <a:spLocks/>
            </p:cNvSpPr>
            <p:nvPr/>
          </p:nvSpPr>
          <p:spPr bwMode="auto">
            <a:xfrm>
              <a:off x="1301" y="3821"/>
              <a:ext cx="14" cy="12"/>
            </a:xfrm>
            <a:custGeom>
              <a:avLst/>
              <a:gdLst>
                <a:gd name="T0" fmla="*/ 49536 w 12"/>
                <a:gd name="T1" fmla="*/ 0 h 12"/>
                <a:gd name="T2" fmla="*/ 0 w 12"/>
                <a:gd name="T3" fmla="*/ 0 h 12"/>
                <a:gd name="T4" fmla="*/ 0 w 12"/>
                <a:gd name="T5" fmla="*/ 12 h 12"/>
                <a:gd name="T6" fmla="*/ 23043 w 12"/>
                <a:gd name="T7" fmla="*/ 12 h 12"/>
                <a:gd name="T8" fmla="*/ 49536 w 12"/>
                <a:gd name="T9" fmla="*/ 6 h 12"/>
                <a:gd name="T10" fmla="*/ 49536 w 12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12"/>
                <a:gd name="T20" fmla="*/ 12 w 12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12">
                  <a:moveTo>
                    <a:pt x="12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1" name="Freeform 111"/>
            <p:cNvSpPr>
              <a:spLocks/>
            </p:cNvSpPr>
            <p:nvPr/>
          </p:nvSpPr>
          <p:spPr bwMode="auto">
            <a:xfrm>
              <a:off x="1264" y="3930"/>
              <a:ext cx="15" cy="7"/>
            </a:xfrm>
            <a:custGeom>
              <a:avLst/>
              <a:gdLst>
                <a:gd name="T0" fmla="*/ 29575 w 13"/>
                <a:gd name="T1" fmla="*/ 0 h 7"/>
                <a:gd name="T2" fmla="*/ 0 w 13"/>
                <a:gd name="T3" fmla="*/ 0 h 7"/>
                <a:gd name="T4" fmla="*/ 0 w 13"/>
                <a:gd name="T5" fmla="*/ 7 h 7"/>
                <a:gd name="T6" fmla="*/ 13296 w 13"/>
                <a:gd name="T7" fmla="*/ 7 h 7"/>
                <a:gd name="T8" fmla="*/ 29575 w 13"/>
                <a:gd name="T9" fmla="*/ 6 h 7"/>
                <a:gd name="T10" fmla="*/ 29575 w 13"/>
                <a:gd name="T11" fmla="*/ 0 h 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7"/>
                <a:gd name="T20" fmla="*/ 13 w 13"/>
                <a:gd name="T21" fmla="*/ 7 h 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7">
                  <a:moveTo>
                    <a:pt x="13" y="0"/>
                  </a:moveTo>
                  <a:lnTo>
                    <a:pt x="0" y="0"/>
                  </a:lnTo>
                  <a:lnTo>
                    <a:pt x="0" y="7"/>
                  </a:lnTo>
                  <a:lnTo>
                    <a:pt x="6" y="7"/>
                  </a:lnTo>
                  <a:lnTo>
                    <a:pt x="13" y="6"/>
                  </a:lnTo>
                  <a:lnTo>
                    <a:pt x="13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2" name="Freeform 112"/>
            <p:cNvSpPr>
              <a:spLocks/>
            </p:cNvSpPr>
            <p:nvPr/>
          </p:nvSpPr>
          <p:spPr bwMode="auto">
            <a:xfrm>
              <a:off x="1300" y="3918"/>
              <a:ext cx="6" cy="12"/>
            </a:xfrm>
            <a:custGeom>
              <a:avLst/>
              <a:gdLst>
                <a:gd name="T0" fmla="*/ 1 w 7"/>
                <a:gd name="T1" fmla="*/ 0 h 12"/>
                <a:gd name="T2" fmla="*/ 0 w 7"/>
                <a:gd name="T3" fmla="*/ 0 h 12"/>
                <a:gd name="T4" fmla="*/ 0 w 7"/>
                <a:gd name="T5" fmla="*/ 12 h 12"/>
                <a:gd name="T6" fmla="*/ 1 w 7"/>
                <a:gd name="T7" fmla="*/ 12 h 12"/>
                <a:gd name="T8" fmla="*/ 3 w 7"/>
                <a:gd name="T9" fmla="*/ 6 h 12"/>
                <a:gd name="T10" fmla="*/ 1 w 7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2"/>
                <a:gd name="T20" fmla="*/ 7 w 7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2">
                  <a:moveTo>
                    <a:pt x="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7" y="6"/>
                  </a:lnTo>
                  <a:lnTo>
                    <a:pt x="1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3" name="Freeform 113"/>
            <p:cNvSpPr>
              <a:spLocks/>
            </p:cNvSpPr>
            <p:nvPr/>
          </p:nvSpPr>
          <p:spPr bwMode="auto">
            <a:xfrm>
              <a:off x="1425" y="3675"/>
              <a:ext cx="31" cy="32"/>
            </a:xfrm>
            <a:custGeom>
              <a:avLst/>
              <a:gdLst>
                <a:gd name="T0" fmla="*/ 2701167 w 25"/>
                <a:gd name="T1" fmla="*/ 7 h 31"/>
                <a:gd name="T2" fmla="*/ 642320 w 25"/>
                <a:gd name="T3" fmla="*/ 0 h 31"/>
                <a:gd name="T4" fmla="*/ 0 w 25"/>
                <a:gd name="T5" fmla="*/ 7 h 31"/>
                <a:gd name="T6" fmla="*/ 0 w 25"/>
                <a:gd name="T7" fmla="*/ 133 h 31"/>
                <a:gd name="T8" fmla="*/ 642320 w 25"/>
                <a:gd name="T9" fmla="*/ 161 h 31"/>
                <a:gd name="T10" fmla="*/ 1406340 w 25"/>
                <a:gd name="T11" fmla="*/ 161 h 31"/>
                <a:gd name="T12" fmla="*/ 1883040 w 25"/>
                <a:gd name="T13" fmla="*/ 133 h 31"/>
                <a:gd name="T14" fmla="*/ 1883040 w 25"/>
                <a:gd name="T15" fmla="*/ 109 h 31"/>
                <a:gd name="T16" fmla="*/ 2701167 w 25"/>
                <a:gd name="T17" fmla="*/ 7 h 3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5"/>
                <a:gd name="T28" fmla="*/ 0 h 31"/>
                <a:gd name="T29" fmla="*/ 25 w 25"/>
                <a:gd name="T30" fmla="*/ 31 h 3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5" h="31">
                  <a:moveTo>
                    <a:pt x="25" y="7"/>
                  </a:moveTo>
                  <a:lnTo>
                    <a:pt x="6" y="0"/>
                  </a:lnTo>
                  <a:lnTo>
                    <a:pt x="0" y="7"/>
                  </a:lnTo>
                  <a:lnTo>
                    <a:pt x="0" y="25"/>
                  </a:lnTo>
                  <a:lnTo>
                    <a:pt x="6" y="31"/>
                  </a:lnTo>
                  <a:lnTo>
                    <a:pt x="12" y="31"/>
                  </a:lnTo>
                  <a:lnTo>
                    <a:pt x="17" y="25"/>
                  </a:lnTo>
                  <a:lnTo>
                    <a:pt x="17" y="19"/>
                  </a:lnTo>
                  <a:lnTo>
                    <a:pt x="25" y="7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4" name="Freeform 114"/>
            <p:cNvSpPr>
              <a:spLocks/>
            </p:cNvSpPr>
            <p:nvPr/>
          </p:nvSpPr>
          <p:spPr bwMode="auto">
            <a:xfrm>
              <a:off x="2117" y="3064"/>
              <a:ext cx="16" cy="13"/>
            </a:xfrm>
            <a:custGeom>
              <a:avLst/>
              <a:gdLst>
                <a:gd name="T0" fmla="*/ 35519167 w 12"/>
                <a:gd name="T1" fmla="*/ 0 h 12"/>
                <a:gd name="T2" fmla="*/ 0 w 12"/>
                <a:gd name="T3" fmla="*/ 544 h 12"/>
                <a:gd name="T4" fmla="*/ 0 w 12"/>
                <a:gd name="T5" fmla="*/ 879 h 12"/>
                <a:gd name="T6" fmla="*/ 35519167 w 12"/>
                <a:gd name="T7" fmla="*/ 879 h 12"/>
                <a:gd name="T8" fmla="*/ 65107798 w 12"/>
                <a:gd name="T9" fmla="*/ 544 h 12"/>
                <a:gd name="T10" fmla="*/ 35519167 w 12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12"/>
                <a:gd name="T20" fmla="*/ 12 w 12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12">
                  <a:moveTo>
                    <a:pt x="6" y="0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6" y="12"/>
                  </a:lnTo>
                  <a:lnTo>
                    <a:pt x="12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5" name="Freeform 115"/>
            <p:cNvSpPr>
              <a:spLocks/>
            </p:cNvSpPr>
            <p:nvPr/>
          </p:nvSpPr>
          <p:spPr bwMode="auto">
            <a:xfrm>
              <a:off x="2152" y="2991"/>
              <a:ext cx="47" cy="35"/>
            </a:xfrm>
            <a:custGeom>
              <a:avLst/>
              <a:gdLst>
                <a:gd name="T0" fmla="*/ 34221803 w 36"/>
                <a:gd name="T1" fmla="*/ 0 h 35"/>
                <a:gd name="T2" fmla="*/ 12659157 w 36"/>
                <a:gd name="T3" fmla="*/ 6 h 35"/>
                <a:gd name="T4" fmla="*/ 0 w 36"/>
                <a:gd name="T5" fmla="*/ 19 h 35"/>
                <a:gd name="T6" fmla="*/ 12659157 w 36"/>
                <a:gd name="T7" fmla="*/ 35 h 35"/>
                <a:gd name="T8" fmla="*/ 41872690 w 36"/>
                <a:gd name="T9" fmla="*/ 35 h 35"/>
                <a:gd name="T10" fmla="*/ 54193713 w 36"/>
                <a:gd name="T11" fmla="*/ 29 h 35"/>
                <a:gd name="T12" fmla="*/ 64316507 w 36"/>
                <a:gd name="T13" fmla="*/ 19 h 35"/>
                <a:gd name="T14" fmla="*/ 54193713 w 36"/>
                <a:gd name="T15" fmla="*/ 6 h 35"/>
                <a:gd name="T16" fmla="*/ 34221803 w 36"/>
                <a:gd name="T17" fmla="*/ 0 h 3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6"/>
                <a:gd name="T28" fmla="*/ 0 h 35"/>
                <a:gd name="T29" fmla="*/ 36 w 36"/>
                <a:gd name="T30" fmla="*/ 35 h 3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6" h="35">
                  <a:moveTo>
                    <a:pt x="19" y="0"/>
                  </a:moveTo>
                  <a:lnTo>
                    <a:pt x="7" y="6"/>
                  </a:lnTo>
                  <a:lnTo>
                    <a:pt x="0" y="19"/>
                  </a:lnTo>
                  <a:lnTo>
                    <a:pt x="7" y="35"/>
                  </a:lnTo>
                  <a:lnTo>
                    <a:pt x="24" y="35"/>
                  </a:lnTo>
                  <a:lnTo>
                    <a:pt x="30" y="29"/>
                  </a:lnTo>
                  <a:lnTo>
                    <a:pt x="36" y="19"/>
                  </a:lnTo>
                  <a:lnTo>
                    <a:pt x="30" y="6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6" name="Freeform 116"/>
            <p:cNvSpPr>
              <a:spLocks/>
            </p:cNvSpPr>
            <p:nvPr/>
          </p:nvSpPr>
          <p:spPr bwMode="auto">
            <a:xfrm>
              <a:off x="2088" y="3033"/>
              <a:ext cx="54" cy="37"/>
            </a:xfrm>
            <a:custGeom>
              <a:avLst/>
              <a:gdLst>
                <a:gd name="T0" fmla="*/ 0 w 43"/>
                <a:gd name="T1" fmla="*/ 103 h 36"/>
                <a:gd name="T2" fmla="*/ 4011248 w 43"/>
                <a:gd name="T3" fmla="*/ 147 h 36"/>
                <a:gd name="T4" fmla="*/ 2754794 w 43"/>
                <a:gd name="T5" fmla="*/ 103 h 36"/>
                <a:gd name="T6" fmla="*/ 4011248 w 43"/>
                <a:gd name="T7" fmla="*/ 17 h 36"/>
                <a:gd name="T8" fmla="*/ 5614765 w 43"/>
                <a:gd name="T9" fmla="*/ 103 h 36"/>
                <a:gd name="T10" fmla="*/ 7944294 w 43"/>
                <a:gd name="T11" fmla="*/ 17 h 36"/>
                <a:gd name="T12" fmla="*/ 6617853 w 43"/>
                <a:gd name="T13" fmla="*/ 13 h 36"/>
                <a:gd name="T14" fmla="*/ 9421618 w 43"/>
                <a:gd name="T15" fmla="*/ 0 h 36"/>
                <a:gd name="T16" fmla="*/ 6617853 w 43"/>
                <a:gd name="T17" fmla="*/ 0 h 36"/>
                <a:gd name="T18" fmla="*/ 6617853 w 43"/>
                <a:gd name="T19" fmla="*/ 0 h 36"/>
                <a:gd name="T20" fmla="*/ 0 w 43"/>
                <a:gd name="T21" fmla="*/ 103 h 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3"/>
                <a:gd name="T34" fmla="*/ 0 h 36"/>
                <a:gd name="T35" fmla="*/ 43 w 43"/>
                <a:gd name="T36" fmla="*/ 36 h 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3" h="36">
                  <a:moveTo>
                    <a:pt x="0" y="23"/>
                  </a:moveTo>
                  <a:lnTo>
                    <a:pt x="18" y="36"/>
                  </a:lnTo>
                  <a:lnTo>
                    <a:pt x="13" y="23"/>
                  </a:lnTo>
                  <a:lnTo>
                    <a:pt x="18" y="17"/>
                  </a:lnTo>
                  <a:lnTo>
                    <a:pt x="26" y="23"/>
                  </a:lnTo>
                  <a:lnTo>
                    <a:pt x="36" y="17"/>
                  </a:lnTo>
                  <a:lnTo>
                    <a:pt x="30" y="13"/>
                  </a:lnTo>
                  <a:lnTo>
                    <a:pt x="43" y="0"/>
                  </a:lnTo>
                  <a:lnTo>
                    <a:pt x="30" y="0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7" name="Freeform 117"/>
            <p:cNvSpPr>
              <a:spLocks/>
            </p:cNvSpPr>
            <p:nvPr/>
          </p:nvSpPr>
          <p:spPr bwMode="auto">
            <a:xfrm>
              <a:off x="2142" y="3046"/>
              <a:ext cx="20" cy="11"/>
            </a:xfrm>
            <a:custGeom>
              <a:avLst/>
              <a:gdLst>
                <a:gd name="T0" fmla="*/ 36618 w 17"/>
                <a:gd name="T1" fmla="*/ 0 h 12"/>
                <a:gd name="T2" fmla="*/ 0 w 17"/>
                <a:gd name="T3" fmla="*/ 6 h 12"/>
                <a:gd name="T4" fmla="*/ 0 w 17"/>
                <a:gd name="T5" fmla="*/ 6 h 12"/>
                <a:gd name="T6" fmla="*/ 70148 w 17"/>
                <a:gd name="T7" fmla="*/ 6 h 12"/>
                <a:gd name="T8" fmla="*/ 112332 w 17"/>
                <a:gd name="T9" fmla="*/ 6 h 12"/>
                <a:gd name="T10" fmla="*/ 36618 w 17"/>
                <a:gd name="T11" fmla="*/ 0 h 1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7"/>
                <a:gd name="T19" fmla="*/ 0 h 12"/>
                <a:gd name="T20" fmla="*/ 17 w 17"/>
                <a:gd name="T21" fmla="*/ 12 h 12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7" h="12">
                  <a:moveTo>
                    <a:pt x="6" y="0"/>
                  </a:moveTo>
                  <a:lnTo>
                    <a:pt x="0" y="6"/>
                  </a:lnTo>
                  <a:lnTo>
                    <a:pt x="0" y="12"/>
                  </a:lnTo>
                  <a:lnTo>
                    <a:pt x="11" y="12"/>
                  </a:lnTo>
                  <a:lnTo>
                    <a:pt x="17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8" name="Freeform 118"/>
            <p:cNvSpPr>
              <a:spLocks/>
            </p:cNvSpPr>
            <p:nvPr/>
          </p:nvSpPr>
          <p:spPr bwMode="auto">
            <a:xfrm>
              <a:off x="2965" y="2663"/>
              <a:ext cx="38" cy="12"/>
            </a:xfrm>
            <a:custGeom>
              <a:avLst/>
              <a:gdLst>
                <a:gd name="T0" fmla="*/ 367619 w 31"/>
                <a:gd name="T1" fmla="*/ 1125 h 11"/>
                <a:gd name="T2" fmla="*/ 0 w 31"/>
                <a:gd name="T3" fmla="*/ 1 h 11"/>
                <a:gd name="T4" fmla="*/ 1067867 w 31"/>
                <a:gd name="T5" fmla="*/ 0 h 11"/>
                <a:gd name="T6" fmla="*/ 1874017 w 31"/>
                <a:gd name="T7" fmla="*/ 5 h 11"/>
                <a:gd name="T8" fmla="*/ 1067867 w 31"/>
                <a:gd name="T9" fmla="*/ 1125 h 11"/>
                <a:gd name="T10" fmla="*/ 367619 w 31"/>
                <a:gd name="T11" fmla="*/ 1125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1"/>
                <a:gd name="T19" fmla="*/ 0 h 11"/>
                <a:gd name="T20" fmla="*/ 31 w 31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1" h="11">
                  <a:moveTo>
                    <a:pt x="6" y="11"/>
                  </a:moveTo>
                  <a:lnTo>
                    <a:pt x="0" y="1"/>
                  </a:lnTo>
                  <a:lnTo>
                    <a:pt x="18" y="0"/>
                  </a:lnTo>
                  <a:lnTo>
                    <a:pt x="31" y="5"/>
                  </a:lnTo>
                  <a:lnTo>
                    <a:pt x="18" y="11"/>
                  </a:lnTo>
                  <a:lnTo>
                    <a:pt x="6" y="11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89" name="Freeform 119"/>
            <p:cNvSpPr>
              <a:spLocks/>
            </p:cNvSpPr>
            <p:nvPr/>
          </p:nvSpPr>
          <p:spPr bwMode="auto">
            <a:xfrm>
              <a:off x="3210" y="1391"/>
              <a:ext cx="28" cy="46"/>
            </a:xfrm>
            <a:custGeom>
              <a:avLst/>
              <a:gdLst>
                <a:gd name="T0" fmla="*/ 712595 w 23"/>
                <a:gd name="T1" fmla="*/ 0 h 47"/>
                <a:gd name="T2" fmla="*/ 425582 w 23"/>
                <a:gd name="T3" fmla="*/ 0 h 47"/>
                <a:gd name="T4" fmla="*/ 159159 w 23"/>
                <a:gd name="T5" fmla="*/ 1 h 47"/>
                <a:gd name="T6" fmla="*/ 0 w 23"/>
                <a:gd name="T7" fmla="*/ 1 h 47"/>
                <a:gd name="T8" fmla="*/ 0 w 23"/>
                <a:gd name="T9" fmla="*/ 23 h 47"/>
                <a:gd name="T10" fmla="*/ 159159 w 23"/>
                <a:gd name="T11" fmla="*/ 23 h 47"/>
                <a:gd name="T12" fmla="*/ 159159 w 23"/>
                <a:gd name="T13" fmla="*/ 23 h 47"/>
                <a:gd name="T14" fmla="*/ 425582 w 23"/>
                <a:gd name="T15" fmla="*/ 23 h 47"/>
                <a:gd name="T16" fmla="*/ 712595 w 23"/>
                <a:gd name="T17" fmla="*/ 23 h 47"/>
                <a:gd name="T18" fmla="*/ 934768 w 23"/>
                <a:gd name="T19" fmla="*/ 11 h 47"/>
                <a:gd name="T20" fmla="*/ 712595 w 23"/>
                <a:gd name="T21" fmla="*/ 0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3"/>
                <a:gd name="T34" fmla="*/ 0 h 47"/>
                <a:gd name="T35" fmla="*/ 23 w 23"/>
                <a:gd name="T36" fmla="*/ 47 h 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3" h="47">
                  <a:moveTo>
                    <a:pt x="17" y="0"/>
                  </a:moveTo>
                  <a:lnTo>
                    <a:pt x="11" y="0"/>
                  </a:lnTo>
                  <a:lnTo>
                    <a:pt x="4" y="1"/>
                  </a:lnTo>
                  <a:lnTo>
                    <a:pt x="0" y="1"/>
                  </a:lnTo>
                  <a:lnTo>
                    <a:pt x="0" y="24"/>
                  </a:lnTo>
                  <a:lnTo>
                    <a:pt x="4" y="30"/>
                  </a:lnTo>
                  <a:lnTo>
                    <a:pt x="4" y="41"/>
                  </a:lnTo>
                  <a:lnTo>
                    <a:pt x="11" y="47"/>
                  </a:lnTo>
                  <a:lnTo>
                    <a:pt x="17" y="41"/>
                  </a:lnTo>
                  <a:lnTo>
                    <a:pt x="23" y="11"/>
                  </a:lnTo>
                  <a:lnTo>
                    <a:pt x="17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0" name="Freeform 120"/>
            <p:cNvSpPr>
              <a:spLocks/>
            </p:cNvSpPr>
            <p:nvPr/>
          </p:nvSpPr>
          <p:spPr bwMode="auto">
            <a:xfrm>
              <a:off x="2036" y="3579"/>
              <a:ext cx="52" cy="24"/>
            </a:xfrm>
            <a:custGeom>
              <a:avLst/>
              <a:gdLst>
                <a:gd name="T0" fmla="*/ 4260981 w 42"/>
                <a:gd name="T1" fmla="*/ 0 h 25"/>
                <a:gd name="T2" fmla="*/ 3079869 w 42"/>
                <a:gd name="T3" fmla="*/ 0 h 25"/>
                <a:gd name="T4" fmla="*/ 3079869 w 42"/>
                <a:gd name="T5" fmla="*/ 6 h 25"/>
                <a:gd name="T6" fmla="*/ 2487586 w 42"/>
                <a:gd name="T7" fmla="*/ 6 h 25"/>
                <a:gd name="T8" fmla="*/ 2009204 w 42"/>
                <a:gd name="T9" fmla="*/ 0 h 25"/>
                <a:gd name="T10" fmla="*/ 1320570 w 42"/>
                <a:gd name="T11" fmla="*/ 0 h 25"/>
                <a:gd name="T12" fmla="*/ 0 w 42"/>
                <a:gd name="T13" fmla="*/ 12 h 25"/>
                <a:gd name="T14" fmla="*/ 0 w 42"/>
                <a:gd name="T15" fmla="*/ 12 h 25"/>
                <a:gd name="T16" fmla="*/ 604987 w 42"/>
                <a:gd name="T17" fmla="*/ 12 h 25"/>
                <a:gd name="T18" fmla="*/ 1320570 w 42"/>
                <a:gd name="T19" fmla="*/ 12 h 25"/>
                <a:gd name="T20" fmla="*/ 2009204 w 42"/>
                <a:gd name="T21" fmla="*/ 12 h 25"/>
                <a:gd name="T22" fmla="*/ 2487586 w 42"/>
                <a:gd name="T23" fmla="*/ 12 h 25"/>
                <a:gd name="T24" fmla="*/ 3079869 w 42"/>
                <a:gd name="T25" fmla="*/ 12 h 25"/>
                <a:gd name="T26" fmla="*/ 3679099 w 42"/>
                <a:gd name="T27" fmla="*/ 6 h 25"/>
                <a:gd name="T28" fmla="*/ 4260981 w 42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2"/>
                <a:gd name="T46" fmla="*/ 0 h 25"/>
                <a:gd name="T47" fmla="*/ 42 w 42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2" h="25">
                  <a:moveTo>
                    <a:pt x="42" y="0"/>
                  </a:moveTo>
                  <a:lnTo>
                    <a:pt x="30" y="0"/>
                  </a:lnTo>
                  <a:lnTo>
                    <a:pt x="30" y="6"/>
                  </a:lnTo>
                  <a:lnTo>
                    <a:pt x="24" y="6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0" y="13"/>
                  </a:lnTo>
                  <a:lnTo>
                    <a:pt x="0" y="25"/>
                  </a:lnTo>
                  <a:lnTo>
                    <a:pt x="6" y="25"/>
                  </a:lnTo>
                  <a:lnTo>
                    <a:pt x="13" y="19"/>
                  </a:lnTo>
                  <a:lnTo>
                    <a:pt x="19" y="19"/>
                  </a:lnTo>
                  <a:lnTo>
                    <a:pt x="24" y="13"/>
                  </a:lnTo>
                  <a:lnTo>
                    <a:pt x="30" y="13"/>
                  </a:lnTo>
                  <a:lnTo>
                    <a:pt x="36" y="6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1" name="Freeform 121"/>
            <p:cNvSpPr>
              <a:spLocks/>
            </p:cNvSpPr>
            <p:nvPr/>
          </p:nvSpPr>
          <p:spPr bwMode="auto">
            <a:xfrm>
              <a:off x="2001" y="3610"/>
              <a:ext cx="14" cy="10"/>
            </a:xfrm>
            <a:custGeom>
              <a:avLst/>
              <a:gdLst>
                <a:gd name="T0" fmla="*/ 23043 w 12"/>
                <a:gd name="T1" fmla="*/ 0 h 11"/>
                <a:gd name="T2" fmla="*/ 0 w 12"/>
                <a:gd name="T3" fmla="*/ 0 h 11"/>
                <a:gd name="T4" fmla="*/ 0 w 12"/>
                <a:gd name="T5" fmla="*/ 5 h 11"/>
                <a:gd name="T6" fmla="*/ 23043 w 12"/>
                <a:gd name="T7" fmla="*/ 5 h 11"/>
                <a:gd name="T8" fmla="*/ 49536 w 12"/>
                <a:gd name="T9" fmla="*/ 5 h 11"/>
                <a:gd name="T10" fmla="*/ 23043 w 12"/>
                <a:gd name="T11" fmla="*/ 0 h 11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2"/>
                <a:gd name="T19" fmla="*/ 0 h 11"/>
                <a:gd name="T20" fmla="*/ 12 w 12"/>
                <a:gd name="T21" fmla="*/ 11 h 11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2" h="11">
                  <a:moveTo>
                    <a:pt x="6" y="0"/>
                  </a:moveTo>
                  <a:lnTo>
                    <a:pt x="0" y="0"/>
                  </a:lnTo>
                  <a:lnTo>
                    <a:pt x="0" y="11"/>
                  </a:lnTo>
                  <a:lnTo>
                    <a:pt x="6" y="11"/>
                  </a:lnTo>
                  <a:lnTo>
                    <a:pt x="12" y="5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2" name="Freeform 122"/>
            <p:cNvSpPr>
              <a:spLocks/>
            </p:cNvSpPr>
            <p:nvPr/>
          </p:nvSpPr>
          <p:spPr bwMode="auto">
            <a:xfrm>
              <a:off x="2036" y="3615"/>
              <a:ext cx="17" cy="13"/>
            </a:xfrm>
            <a:custGeom>
              <a:avLst/>
              <a:gdLst>
                <a:gd name="T0" fmla="*/ 11322326 w 13"/>
                <a:gd name="T1" fmla="*/ 0 h 13"/>
                <a:gd name="T2" fmla="*/ 0 w 13"/>
                <a:gd name="T3" fmla="*/ 6 h 13"/>
                <a:gd name="T4" fmla="*/ 0 w 13"/>
                <a:gd name="T5" fmla="*/ 13 h 13"/>
                <a:gd name="T6" fmla="*/ 11322326 w 13"/>
                <a:gd name="T7" fmla="*/ 13 h 13"/>
                <a:gd name="T8" fmla="*/ 25319311 w 13"/>
                <a:gd name="T9" fmla="*/ 6 h 13"/>
                <a:gd name="T10" fmla="*/ 11322326 w 13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13"/>
                <a:gd name="T20" fmla="*/ 13 w 13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13">
                  <a:moveTo>
                    <a:pt x="6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6" y="13"/>
                  </a:lnTo>
                  <a:lnTo>
                    <a:pt x="13" y="6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3" name="Freeform 123"/>
            <p:cNvSpPr>
              <a:spLocks/>
            </p:cNvSpPr>
            <p:nvPr/>
          </p:nvSpPr>
          <p:spPr bwMode="auto">
            <a:xfrm>
              <a:off x="2473" y="3373"/>
              <a:ext cx="43" cy="30"/>
            </a:xfrm>
            <a:custGeom>
              <a:avLst/>
              <a:gdLst>
                <a:gd name="T0" fmla="*/ 8935409 w 34"/>
                <a:gd name="T1" fmla="*/ 0 h 29"/>
                <a:gd name="T2" fmla="*/ 5586444 w 34"/>
                <a:gd name="T3" fmla="*/ 11 h 29"/>
                <a:gd name="T4" fmla="*/ 1547475 w 34"/>
                <a:gd name="T5" fmla="*/ 11 h 29"/>
                <a:gd name="T6" fmla="*/ 0 w 34"/>
                <a:gd name="T7" fmla="*/ 112 h 29"/>
                <a:gd name="T8" fmla="*/ 0 w 34"/>
                <a:gd name="T9" fmla="*/ 112 h 29"/>
                <a:gd name="T10" fmla="*/ 1547475 w 34"/>
                <a:gd name="T11" fmla="*/ 137 h 29"/>
                <a:gd name="T12" fmla="*/ 3685132 w 34"/>
                <a:gd name="T13" fmla="*/ 137 h 29"/>
                <a:gd name="T14" fmla="*/ 5586444 w 34"/>
                <a:gd name="T15" fmla="*/ 168 h 29"/>
                <a:gd name="T16" fmla="*/ 8935409 w 34"/>
                <a:gd name="T17" fmla="*/ 168 h 29"/>
                <a:gd name="T18" fmla="*/ 10835909 w 34"/>
                <a:gd name="T19" fmla="*/ 137 h 29"/>
                <a:gd name="T20" fmla="*/ 10835909 w 34"/>
                <a:gd name="T21" fmla="*/ 6 h 29"/>
                <a:gd name="T22" fmla="*/ 8935409 w 34"/>
                <a:gd name="T23" fmla="*/ 0 h 2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4"/>
                <a:gd name="T37" fmla="*/ 0 h 29"/>
                <a:gd name="T38" fmla="*/ 34 w 34"/>
                <a:gd name="T39" fmla="*/ 29 h 2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4" h="29">
                  <a:moveTo>
                    <a:pt x="28" y="0"/>
                  </a:moveTo>
                  <a:lnTo>
                    <a:pt x="17" y="11"/>
                  </a:lnTo>
                  <a:lnTo>
                    <a:pt x="5" y="11"/>
                  </a:lnTo>
                  <a:lnTo>
                    <a:pt x="0" y="17"/>
                  </a:lnTo>
                  <a:lnTo>
                    <a:pt x="5" y="23"/>
                  </a:lnTo>
                  <a:lnTo>
                    <a:pt x="11" y="23"/>
                  </a:lnTo>
                  <a:lnTo>
                    <a:pt x="17" y="29"/>
                  </a:lnTo>
                  <a:lnTo>
                    <a:pt x="28" y="29"/>
                  </a:lnTo>
                  <a:lnTo>
                    <a:pt x="34" y="23"/>
                  </a:lnTo>
                  <a:lnTo>
                    <a:pt x="34" y="6"/>
                  </a:lnTo>
                  <a:lnTo>
                    <a:pt x="28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4" name="Freeform 124"/>
            <p:cNvSpPr>
              <a:spLocks/>
            </p:cNvSpPr>
            <p:nvPr/>
          </p:nvSpPr>
          <p:spPr bwMode="auto">
            <a:xfrm>
              <a:off x="2170" y="3487"/>
              <a:ext cx="14" cy="14"/>
            </a:xfrm>
            <a:custGeom>
              <a:avLst/>
              <a:gdLst>
                <a:gd name="T0" fmla="*/ 5033483 w 11"/>
                <a:gd name="T1" fmla="*/ 0 h 13"/>
                <a:gd name="T2" fmla="*/ 3025413 w 11"/>
                <a:gd name="T3" fmla="*/ 6 h 13"/>
                <a:gd name="T4" fmla="*/ 0 w 11"/>
                <a:gd name="T5" fmla="*/ 6 h 13"/>
                <a:gd name="T6" fmla="*/ 0 w 11"/>
                <a:gd name="T7" fmla="*/ 675 h 13"/>
                <a:gd name="T8" fmla="*/ 5033483 w 11"/>
                <a:gd name="T9" fmla="*/ 675 h 13"/>
                <a:gd name="T10" fmla="*/ 5033483 w 11"/>
                <a:gd name="T11" fmla="*/ 6 h 13"/>
                <a:gd name="T12" fmla="*/ 5033483 w 11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1"/>
                <a:gd name="T22" fmla="*/ 0 h 13"/>
                <a:gd name="T23" fmla="*/ 11 w 11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1" h="13">
                  <a:moveTo>
                    <a:pt x="11" y="0"/>
                  </a:moveTo>
                  <a:lnTo>
                    <a:pt x="6" y="6"/>
                  </a:lnTo>
                  <a:lnTo>
                    <a:pt x="0" y="6"/>
                  </a:lnTo>
                  <a:lnTo>
                    <a:pt x="0" y="13"/>
                  </a:lnTo>
                  <a:lnTo>
                    <a:pt x="11" y="13"/>
                  </a:lnTo>
                  <a:lnTo>
                    <a:pt x="11" y="6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5" name="Freeform 125"/>
            <p:cNvSpPr>
              <a:spLocks/>
            </p:cNvSpPr>
            <p:nvPr/>
          </p:nvSpPr>
          <p:spPr bwMode="auto">
            <a:xfrm>
              <a:off x="2152" y="3511"/>
              <a:ext cx="18" cy="19"/>
            </a:xfrm>
            <a:custGeom>
              <a:avLst/>
              <a:gdLst>
                <a:gd name="T0" fmla="*/ 304531022 w 13"/>
                <a:gd name="T1" fmla="*/ 0 h 19"/>
                <a:gd name="T2" fmla="*/ 304531022 w 13"/>
                <a:gd name="T3" fmla="*/ 7 h 19"/>
                <a:gd name="T4" fmla="*/ 0 w 13"/>
                <a:gd name="T5" fmla="*/ 13 h 19"/>
                <a:gd name="T6" fmla="*/ 0 w 13"/>
                <a:gd name="T7" fmla="*/ 19 h 19"/>
                <a:gd name="T8" fmla="*/ 304531022 w 13"/>
                <a:gd name="T9" fmla="*/ 19 h 19"/>
                <a:gd name="T10" fmla="*/ 552139437 w 13"/>
                <a:gd name="T11" fmla="*/ 13 h 19"/>
                <a:gd name="T12" fmla="*/ 552139437 w 13"/>
                <a:gd name="T13" fmla="*/ 7 h 19"/>
                <a:gd name="T14" fmla="*/ 304531022 w 13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3"/>
                <a:gd name="T25" fmla="*/ 0 h 19"/>
                <a:gd name="T26" fmla="*/ 13 w 13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3" h="19">
                  <a:moveTo>
                    <a:pt x="7" y="0"/>
                  </a:moveTo>
                  <a:lnTo>
                    <a:pt x="7" y="7"/>
                  </a:lnTo>
                  <a:lnTo>
                    <a:pt x="0" y="13"/>
                  </a:lnTo>
                  <a:lnTo>
                    <a:pt x="0" y="19"/>
                  </a:lnTo>
                  <a:lnTo>
                    <a:pt x="7" y="19"/>
                  </a:lnTo>
                  <a:lnTo>
                    <a:pt x="13" y="13"/>
                  </a:lnTo>
                  <a:lnTo>
                    <a:pt x="13" y="7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6" name="Freeform 126"/>
            <p:cNvSpPr>
              <a:spLocks/>
            </p:cNvSpPr>
            <p:nvPr/>
          </p:nvSpPr>
          <p:spPr bwMode="auto">
            <a:xfrm>
              <a:off x="2222" y="3465"/>
              <a:ext cx="21" cy="11"/>
            </a:xfrm>
            <a:custGeom>
              <a:avLst/>
              <a:gdLst>
                <a:gd name="T0" fmla="*/ 1015279 w 17"/>
                <a:gd name="T1" fmla="*/ 0 h 12"/>
                <a:gd name="T2" fmla="*/ 436018 w 17"/>
                <a:gd name="T3" fmla="*/ 0 h 12"/>
                <a:gd name="T4" fmla="*/ 0 w 17"/>
                <a:gd name="T5" fmla="*/ 6 h 12"/>
                <a:gd name="T6" fmla="*/ 436018 w 17"/>
                <a:gd name="T7" fmla="*/ 6 h 12"/>
                <a:gd name="T8" fmla="*/ 1015279 w 17"/>
                <a:gd name="T9" fmla="*/ 6 h 12"/>
                <a:gd name="T10" fmla="*/ 1549266 w 17"/>
                <a:gd name="T11" fmla="*/ 6 h 12"/>
                <a:gd name="T12" fmla="*/ 1015279 w 17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7"/>
                <a:gd name="T22" fmla="*/ 0 h 12"/>
                <a:gd name="T23" fmla="*/ 17 w 17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7" h="12">
                  <a:moveTo>
                    <a:pt x="11" y="0"/>
                  </a:moveTo>
                  <a:lnTo>
                    <a:pt x="5" y="0"/>
                  </a:lnTo>
                  <a:lnTo>
                    <a:pt x="0" y="6"/>
                  </a:lnTo>
                  <a:lnTo>
                    <a:pt x="5" y="12"/>
                  </a:lnTo>
                  <a:lnTo>
                    <a:pt x="11" y="12"/>
                  </a:lnTo>
                  <a:lnTo>
                    <a:pt x="17" y="6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7" name="Freeform 127"/>
            <p:cNvSpPr>
              <a:spLocks/>
            </p:cNvSpPr>
            <p:nvPr/>
          </p:nvSpPr>
          <p:spPr bwMode="auto">
            <a:xfrm>
              <a:off x="2032" y="3511"/>
              <a:ext cx="12" cy="19"/>
            </a:xfrm>
            <a:custGeom>
              <a:avLst/>
              <a:gdLst>
                <a:gd name="T0" fmla="*/ 1125 w 11"/>
                <a:gd name="T1" fmla="*/ 0 h 19"/>
                <a:gd name="T2" fmla="*/ 4 w 11"/>
                <a:gd name="T3" fmla="*/ 0 h 19"/>
                <a:gd name="T4" fmla="*/ 0 w 11"/>
                <a:gd name="T5" fmla="*/ 7 h 19"/>
                <a:gd name="T6" fmla="*/ 0 w 11"/>
                <a:gd name="T7" fmla="*/ 19 h 19"/>
                <a:gd name="T8" fmla="*/ 4 w 11"/>
                <a:gd name="T9" fmla="*/ 19 h 19"/>
                <a:gd name="T10" fmla="*/ 1125 w 11"/>
                <a:gd name="T11" fmla="*/ 13 h 19"/>
                <a:gd name="T12" fmla="*/ 1125 w 11"/>
                <a:gd name="T13" fmla="*/ 7 h 19"/>
                <a:gd name="T14" fmla="*/ 1125 w 11"/>
                <a:gd name="T15" fmla="*/ 0 h 19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1"/>
                <a:gd name="T25" fmla="*/ 0 h 19"/>
                <a:gd name="T26" fmla="*/ 11 w 11"/>
                <a:gd name="T27" fmla="*/ 19 h 19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1" h="19">
                  <a:moveTo>
                    <a:pt x="11" y="0"/>
                  </a:moveTo>
                  <a:lnTo>
                    <a:pt x="4" y="0"/>
                  </a:lnTo>
                  <a:lnTo>
                    <a:pt x="0" y="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11" y="13"/>
                  </a:lnTo>
                  <a:lnTo>
                    <a:pt x="11" y="7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8" name="Freeform 128"/>
            <p:cNvSpPr>
              <a:spLocks/>
            </p:cNvSpPr>
            <p:nvPr/>
          </p:nvSpPr>
          <p:spPr bwMode="auto">
            <a:xfrm>
              <a:off x="2053" y="3493"/>
              <a:ext cx="24" cy="37"/>
            </a:xfrm>
            <a:custGeom>
              <a:avLst/>
              <a:gdLst>
                <a:gd name="T0" fmla="*/ 3513216 w 19"/>
                <a:gd name="T1" fmla="*/ 0 h 36"/>
                <a:gd name="T2" fmla="*/ 3513216 w 19"/>
                <a:gd name="T3" fmla="*/ 13 h 36"/>
                <a:gd name="T4" fmla="*/ 0 w 19"/>
                <a:gd name="T5" fmla="*/ 91 h 36"/>
                <a:gd name="T6" fmla="*/ 3513216 w 19"/>
                <a:gd name="T7" fmla="*/ 124 h 36"/>
                <a:gd name="T8" fmla="*/ 3513216 w 19"/>
                <a:gd name="T9" fmla="*/ 147 h 36"/>
                <a:gd name="T10" fmla="*/ 5701567 w 19"/>
                <a:gd name="T11" fmla="*/ 124 h 36"/>
                <a:gd name="T12" fmla="*/ 5701567 w 19"/>
                <a:gd name="T13" fmla="*/ 106 h 36"/>
                <a:gd name="T14" fmla="*/ 3513216 w 19"/>
                <a:gd name="T15" fmla="*/ 0 h 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9"/>
                <a:gd name="T25" fmla="*/ 0 h 36"/>
                <a:gd name="T26" fmla="*/ 19 w 19"/>
                <a:gd name="T27" fmla="*/ 36 h 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9" h="36">
                  <a:moveTo>
                    <a:pt x="11" y="0"/>
                  </a:moveTo>
                  <a:lnTo>
                    <a:pt x="11" y="13"/>
                  </a:lnTo>
                  <a:lnTo>
                    <a:pt x="0" y="19"/>
                  </a:lnTo>
                  <a:lnTo>
                    <a:pt x="11" y="30"/>
                  </a:lnTo>
                  <a:lnTo>
                    <a:pt x="11" y="36"/>
                  </a:lnTo>
                  <a:lnTo>
                    <a:pt x="19" y="30"/>
                  </a:lnTo>
                  <a:lnTo>
                    <a:pt x="19" y="24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99" name="Freeform 129"/>
            <p:cNvSpPr>
              <a:spLocks/>
            </p:cNvSpPr>
            <p:nvPr/>
          </p:nvSpPr>
          <p:spPr bwMode="auto">
            <a:xfrm>
              <a:off x="2088" y="3525"/>
              <a:ext cx="16" cy="13"/>
            </a:xfrm>
            <a:custGeom>
              <a:avLst/>
              <a:gdLst>
                <a:gd name="T0" fmla="*/ 556641 w 13"/>
                <a:gd name="T1" fmla="*/ 0 h 13"/>
                <a:gd name="T2" fmla="*/ 0 w 13"/>
                <a:gd name="T3" fmla="*/ 6 h 13"/>
                <a:gd name="T4" fmla="*/ 0 w 13"/>
                <a:gd name="T5" fmla="*/ 13 h 13"/>
                <a:gd name="T6" fmla="*/ 556641 w 13"/>
                <a:gd name="T7" fmla="*/ 13 h 13"/>
                <a:gd name="T8" fmla="*/ 995058 w 13"/>
                <a:gd name="T9" fmla="*/ 6 h 13"/>
                <a:gd name="T10" fmla="*/ 556641 w 13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3"/>
                <a:gd name="T19" fmla="*/ 0 h 13"/>
                <a:gd name="T20" fmla="*/ 13 w 13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3" h="13">
                  <a:moveTo>
                    <a:pt x="7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7" y="13"/>
                  </a:lnTo>
                  <a:lnTo>
                    <a:pt x="13" y="6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0" name="Freeform 130"/>
            <p:cNvSpPr>
              <a:spLocks/>
            </p:cNvSpPr>
            <p:nvPr/>
          </p:nvSpPr>
          <p:spPr bwMode="auto">
            <a:xfrm>
              <a:off x="2190" y="3476"/>
              <a:ext cx="32" cy="17"/>
            </a:xfrm>
            <a:custGeom>
              <a:avLst/>
              <a:gdLst>
                <a:gd name="T0" fmla="*/ 0 w 25"/>
                <a:gd name="T1" fmla="*/ 17 h 17"/>
                <a:gd name="T2" fmla="*/ 0 w 25"/>
                <a:gd name="T3" fmla="*/ 5 h 17"/>
                <a:gd name="T4" fmla="*/ 11607789 w 25"/>
                <a:gd name="T5" fmla="*/ 0 h 17"/>
                <a:gd name="T6" fmla="*/ 15320392 w 25"/>
                <a:gd name="T7" fmla="*/ 5 h 17"/>
                <a:gd name="T8" fmla="*/ 8303585 w 25"/>
                <a:gd name="T9" fmla="*/ 17 h 17"/>
                <a:gd name="T10" fmla="*/ 0 w 25"/>
                <a:gd name="T11" fmla="*/ 17 h 1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5"/>
                <a:gd name="T19" fmla="*/ 0 h 17"/>
                <a:gd name="T20" fmla="*/ 25 w 25"/>
                <a:gd name="T21" fmla="*/ 17 h 1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5" h="17">
                  <a:moveTo>
                    <a:pt x="0" y="17"/>
                  </a:moveTo>
                  <a:lnTo>
                    <a:pt x="0" y="5"/>
                  </a:lnTo>
                  <a:lnTo>
                    <a:pt x="19" y="0"/>
                  </a:lnTo>
                  <a:lnTo>
                    <a:pt x="25" y="5"/>
                  </a:lnTo>
                  <a:lnTo>
                    <a:pt x="13" y="17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1" name="Freeform 131"/>
            <p:cNvSpPr>
              <a:spLocks/>
            </p:cNvSpPr>
            <p:nvPr/>
          </p:nvSpPr>
          <p:spPr bwMode="auto">
            <a:xfrm>
              <a:off x="2222" y="3487"/>
              <a:ext cx="14" cy="14"/>
            </a:xfrm>
            <a:custGeom>
              <a:avLst/>
              <a:gdLst>
                <a:gd name="T0" fmla="*/ 2377111 w 11"/>
                <a:gd name="T1" fmla="*/ 0 h 13"/>
                <a:gd name="T2" fmla="*/ 0 w 11"/>
                <a:gd name="T3" fmla="*/ 0 h 13"/>
                <a:gd name="T4" fmla="*/ 0 w 11"/>
                <a:gd name="T5" fmla="*/ 675 h 13"/>
                <a:gd name="T6" fmla="*/ 2377111 w 11"/>
                <a:gd name="T7" fmla="*/ 675 h 13"/>
                <a:gd name="T8" fmla="*/ 5033483 w 11"/>
                <a:gd name="T9" fmla="*/ 6 h 13"/>
                <a:gd name="T10" fmla="*/ 2377111 w 11"/>
                <a:gd name="T11" fmla="*/ 0 h 1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1"/>
                <a:gd name="T19" fmla="*/ 0 h 13"/>
                <a:gd name="T20" fmla="*/ 11 w 11"/>
                <a:gd name="T21" fmla="*/ 13 h 13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1" h="13">
                  <a:moveTo>
                    <a:pt x="5" y="0"/>
                  </a:moveTo>
                  <a:lnTo>
                    <a:pt x="0" y="0"/>
                  </a:lnTo>
                  <a:lnTo>
                    <a:pt x="0" y="13"/>
                  </a:lnTo>
                  <a:lnTo>
                    <a:pt x="5" y="13"/>
                  </a:lnTo>
                  <a:lnTo>
                    <a:pt x="11" y="6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2" name="Freeform 132"/>
            <p:cNvSpPr>
              <a:spLocks/>
            </p:cNvSpPr>
            <p:nvPr/>
          </p:nvSpPr>
          <p:spPr bwMode="auto">
            <a:xfrm>
              <a:off x="2847" y="3082"/>
              <a:ext cx="67" cy="133"/>
            </a:xfrm>
            <a:custGeom>
              <a:avLst/>
              <a:gdLst>
                <a:gd name="T0" fmla="*/ 1804103 w 55"/>
                <a:gd name="T1" fmla="*/ 30 h 131"/>
                <a:gd name="T2" fmla="*/ 2363066 w 55"/>
                <a:gd name="T3" fmla="*/ 90 h 131"/>
                <a:gd name="T4" fmla="*/ 2363066 w 55"/>
                <a:gd name="T5" fmla="*/ 119 h 131"/>
                <a:gd name="T6" fmla="*/ 1592398 w 55"/>
                <a:gd name="T7" fmla="*/ 183 h 131"/>
                <a:gd name="T8" fmla="*/ 1007168 w 55"/>
                <a:gd name="T9" fmla="*/ 204 h 131"/>
                <a:gd name="T10" fmla="*/ 294022 w 55"/>
                <a:gd name="T11" fmla="*/ 258 h 131"/>
                <a:gd name="T12" fmla="*/ 294022 w 55"/>
                <a:gd name="T13" fmla="*/ 282 h 131"/>
                <a:gd name="T14" fmla="*/ 0 w 55"/>
                <a:gd name="T15" fmla="*/ 291 h 131"/>
                <a:gd name="T16" fmla="*/ 0 w 55"/>
                <a:gd name="T17" fmla="*/ 270 h 131"/>
                <a:gd name="T18" fmla="*/ 1 w 55"/>
                <a:gd name="T19" fmla="*/ 216 h 131"/>
                <a:gd name="T20" fmla="*/ 1 w 55"/>
                <a:gd name="T21" fmla="*/ 183 h 131"/>
                <a:gd name="T22" fmla="*/ 531516 w 55"/>
                <a:gd name="T23" fmla="*/ 105 h 131"/>
                <a:gd name="T24" fmla="*/ 294022 w 55"/>
                <a:gd name="T25" fmla="*/ 89 h 131"/>
                <a:gd name="T26" fmla="*/ 531516 w 55"/>
                <a:gd name="T27" fmla="*/ 19 h 131"/>
                <a:gd name="T28" fmla="*/ 1007168 w 55"/>
                <a:gd name="T29" fmla="*/ 12 h 131"/>
                <a:gd name="T30" fmla="*/ 1592398 w 55"/>
                <a:gd name="T31" fmla="*/ 0 h 131"/>
                <a:gd name="T32" fmla="*/ 1804103 w 55"/>
                <a:gd name="T33" fmla="*/ 12 h 131"/>
                <a:gd name="T34" fmla="*/ 1804103 w 55"/>
                <a:gd name="T35" fmla="*/ 30 h 13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5"/>
                <a:gd name="T55" fmla="*/ 0 h 131"/>
                <a:gd name="T56" fmla="*/ 55 w 55"/>
                <a:gd name="T57" fmla="*/ 131 h 13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5" h="131">
                  <a:moveTo>
                    <a:pt x="42" y="30"/>
                  </a:moveTo>
                  <a:lnTo>
                    <a:pt x="55" y="36"/>
                  </a:lnTo>
                  <a:lnTo>
                    <a:pt x="55" y="55"/>
                  </a:lnTo>
                  <a:lnTo>
                    <a:pt x="37" y="84"/>
                  </a:lnTo>
                  <a:lnTo>
                    <a:pt x="24" y="91"/>
                  </a:lnTo>
                  <a:lnTo>
                    <a:pt x="7" y="114"/>
                  </a:lnTo>
                  <a:lnTo>
                    <a:pt x="7" y="126"/>
                  </a:lnTo>
                  <a:lnTo>
                    <a:pt x="0" y="131"/>
                  </a:lnTo>
                  <a:lnTo>
                    <a:pt x="0" y="120"/>
                  </a:lnTo>
                  <a:lnTo>
                    <a:pt x="1" y="95"/>
                  </a:lnTo>
                  <a:lnTo>
                    <a:pt x="1" y="84"/>
                  </a:lnTo>
                  <a:lnTo>
                    <a:pt x="13" y="48"/>
                  </a:lnTo>
                  <a:lnTo>
                    <a:pt x="7" y="35"/>
                  </a:lnTo>
                  <a:lnTo>
                    <a:pt x="13" y="19"/>
                  </a:lnTo>
                  <a:lnTo>
                    <a:pt x="24" y="12"/>
                  </a:lnTo>
                  <a:lnTo>
                    <a:pt x="37" y="0"/>
                  </a:lnTo>
                  <a:lnTo>
                    <a:pt x="42" y="12"/>
                  </a:lnTo>
                  <a:lnTo>
                    <a:pt x="42" y="3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3" name="Freeform 133"/>
            <p:cNvSpPr>
              <a:spLocks/>
            </p:cNvSpPr>
            <p:nvPr/>
          </p:nvSpPr>
          <p:spPr bwMode="auto">
            <a:xfrm>
              <a:off x="3275" y="516"/>
              <a:ext cx="1171" cy="1049"/>
            </a:xfrm>
            <a:custGeom>
              <a:avLst/>
              <a:gdLst>
                <a:gd name="T0" fmla="*/ 41946649 w 947"/>
                <a:gd name="T1" fmla="*/ 494 h 1030"/>
                <a:gd name="T2" fmla="*/ 52159804 w 947"/>
                <a:gd name="T3" fmla="*/ 604 h 1030"/>
                <a:gd name="T4" fmla="*/ 56060135 w 947"/>
                <a:gd name="T5" fmla="*/ 590 h 1030"/>
                <a:gd name="T6" fmla="*/ 59628284 w 947"/>
                <a:gd name="T7" fmla="*/ 604 h 1030"/>
                <a:gd name="T8" fmla="*/ 60824103 w 947"/>
                <a:gd name="T9" fmla="*/ 616 h 1030"/>
                <a:gd name="T10" fmla="*/ 61335258 w 947"/>
                <a:gd name="T11" fmla="*/ 590 h 1030"/>
                <a:gd name="T12" fmla="*/ 64230572 w 947"/>
                <a:gd name="T13" fmla="*/ 651 h 1030"/>
                <a:gd name="T14" fmla="*/ 70354849 w 947"/>
                <a:gd name="T15" fmla="*/ 604 h 1030"/>
                <a:gd name="T16" fmla="*/ 76510543 w 947"/>
                <a:gd name="T17" fmla="*/ 266 h 1030"/>
                <a:gd name="T18" fmla="*/ 75454482 w 947"/>
                <a:gd name="T19" fmla="*/ 571 h 1030"/>
                <a:gd name="T20" fmla="*/ 79423427 w 947"/>
                <a:gd name="T21" fmla="*/ 730 h 1030"/>
                <a:gd name="T22" fmla="*/ 79906408 w 947"/>
                <a:gd name="T23" fmla="*/ 730 h 1030"/>
                <a:gd name="T24" fmla="*/ 81767187 w 947"/>
                <a:gd name="T25" fmla="*/ 829 h 1030"/>
                <a:gd name="T26" fmla="*/ 81767187 w 947"/>
                <a:gd name="T27" fmla="*/ 925 h 1030"/>
                <a:gd name="T28" fmla="*/ 86714024 w 947"/>
                <a:gd name="T29" fmla="*/ 829 h 1030"/>
                <a:gd name="T30" fmla="*/ 87959898 w 947"/>
                <a:gd name="T31" fmla="*/ 844 h 1030"/>
                <a:gd name="T32" fmla="*/ 85017378 w 947"/>
                <a:gd name="T33" fmla="*/ 977 h 1030"/>
                <a:gd name="T34" fmla="*/ 80565670 w 947"/>
                <a:gd name="T35" fmla="*/ 1065 h 1030"/>
                <a:gd name="T36" fmla="*/ 78890549 w 947"/>
                <a:gd name="T37" fmla="*/ 1136 h 1030"/>
                <a:gd name="T38" fmla="*/ 76151255 w 947"/>
                <a:gd name="T39" fmla="*/ 1165 h 1030"/>
                <a:gd name="T40" fmla="*/ 72027675 w 947"/>
                <a:gd name="T41" fmla="*/ 1250 h 1030"/>
                <a:gd name="T42" fmla="*/ 66485460 w 947"/>
                <a:gd name="T43" fmla="*/ 1278 h 1030"/>
                <a:gd name="T44" fmla="*/ 60060973 w 947"/>
                <a:gd name="T45" fmla="*/ 1551 h 1030"/>
                <a:gd name="T46" fmla="*/ 59070834 w 947"/>
                <a:gd name="T47" fmla="*/ 1904 h 1030"/>
                <a:gd name="T48" fmla="*/ 52223945 w 947"/>
                <a:gd name="T49" fmla="*/ 1968 h 1030"/>
                <a:gd name="T50" fmla="*/ 40316350 w 947"/>
                <a:gd name="T51" fmla="*/ 1881 h 1030"/>
                <a:gd name="T52" fmla="*/ 29449730 w 947"/>
                <a:gd name="T53" fmla="*/ 1819 h 1030"/>
                <a:gd name="T54" fmla="*/ 20884947 w 947"/>
                <a:gd name="T55" fmla="*/ 2060 h 1030"/>
                <a:gd name="T56" fmla="*/ 16578324 w 947"/>
                <a:gd name="T57" fmla="*/ 2026 h 1030"/>
                <a:gd name="T58" fmla="*/ 9010344 w 947"/>
                <a:gd name="T59" fmla="*/ 1993 h 1030"/>
                <a:gd name="T60" fmla="*/ 11342691 w 947"/>
                <a:gd name="T61" fmla="*/ 2237 h 1030"/>
                <a:gd name="T62" fmla="*/ 17594074 w 947"/>
                <a:gd name="T63" fmla="*/ 2253 h 1030"/>
                <a:gd name="T64" fmla="*/ 23816309 w 947"/>
                <a:gd name="T65" fmla="*/ 2334 h 1030"/>
                <a:gd name="T66" fmla="*/ 24989653 w 947"/>
                <a:gd name="T67" fmla="*/ 2449 h 1030"/>
                <a:gd name="T68" fmla="*/ 19843323 w 947"/>
                <a:gd name="T69" fmla="*/ 2449 h 1030"/>
                <a:gd name="T70" fmla="*/ 17594074 w 947"/>
                <a:gd name="T71" fmla="*/ 2466 h 1030"/>
                <a:gd name="T72" fmla="*/ 15999318 w 947"/>
                <a:gd name="T73" fmla="*/ 2655 h 1030"/>
                <a:gd name="T74" fmla="*/ 12398446 w 947"/>
                <a:gd name="T75" fmla="*/ 2737 h 1030"/>
                <a:gd name="T76" fmla="*/ 8474677 w 947"/>
                <a:gd name="T77" fmla="*/ 2663 h 1030"/>
                <a:gd name="T78" fmla="*/ 8474677 w 947"/>
                <a:gd name="T79" fmla="*/ 2473 h 1030"/>
                <a:gd name="T80" fmla="*/ 4482319 w 947"/>
                <a:gd name="T81" fmla="*/ 2334 h 1030"/>
                <a:gd name="T82" fmla="*/ 1065242 w 947"/>
                <a:gd name="T83" fmla="*/ 2191 h 1030"/>
                <a:gd name="T84" fmla="*/ 1065242 w 947"/>
                <a:gd name="T85" fmla="*/ 1981 h 1030"/>
                <a:gd name="T86" fmla="*/ 6316773 w 947"/>
                <a:gd name="T87" fmla="*/ 1881 h 1030"/>
                <a:gd name="T88" fmla="*/ 9010344 w 947"/>
                <a:gd name="T89" fmla="*/ 1700 h 1030"/>
                <a:gd name="T90" fmla="*/ 5108441 w 947"/>
                <a:gd name="T91" fmla="*/ 1627 h 1030"/>
                <a:gd name="T92" fmla="*/ 5108441 w 947"/>
                <a:gd name="T93" fmla="*/ 1504 h 1030"/>
                <a:gd name="T94" fmla="*/ 10026757 w 947"/>
                <a:gd name="T95" fmla="*/ 1513 h 1030"/>
                <a:gd name="T96" fmla="*/ 15323784 w 947"/>
                <a:gd name="T97" fmla="*/ 1551 h 1030"/>
                <a:gd name="T98" fmla="*/ 20884947 w 947"/>
                <a:gd name="T99" fmla="*/ 1513 h 1030"/>
                <a:gd name="T100" fmla="*/ 18134608 w 947"/>
                <a:gd name="T101" fmla="*/ 1344 h 1030"/>
                <a:gd name="T102" fmla="*/ 18129860 w 947"/>
                <a:gd name="T103" fmla="*/ 1120 h 1030"/>
                <a:gd name="T104" fmla="*/ 19843323 w 947"/>
                <a:gd name="T105" fmla="*/ 880 h 1030"/>
                <a:gd name="T106" fmla="*/ 19196397 w 947"/>
                <a:gd name="T107" fmla="*/ 604 h 1030"/>
                <a:gd name="T108" fmla="*/ 15999318 w 947"/>
                <a:gd name="T109" fmla="*/ 388 h 1030"/>
                <a:gd name="T110" fmla="*/ 12398446 w 947"/>
                <a:gd name="T111" fmla="*/ 227 h 1030"/>
                <a:gd name="T112" fmla="*/ 11943064 w 947"/>
                <a:gd name="T113" fmla="*/ 24 h 1030"/>
                <a:gd name="T114" fmla="*/ 15999318 w 947"/>
                <a:gd name="T115" fmla="*/ 5 h 1030"/>
                <a:gd name="T116" fmla="*/ 23430411 w 947"/>
                <a:gd name="T117" fmla="*/ 134 h 1030"/>
                <a:gd name="T118" fmla="*/ 33458916 w 947"/>
                <a:gd name="T119" fmla="*/ 350 h 103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947"/>
                <a:gd name="T181" fmla="*/ 0 h 1030"/>
                <a:gd name="T182" fmla="*/ 947 w 947"/>
                <a:gd name="T183" fmla="*/ 1030 h 103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947" h="1030">
                  <a:moveTo>
                    <a:pt x="351" y="131"/>
                  </a:moveTo>
                  <a:lnTo>
                    <a:pt x="374" y="144"/>
                  </a:lnTo>
                  <a:lnTo>
                    <a:pt x="410" y="167"/>
                  </a:lnTo>
                  <a:lnTo>
                    <a:pt x="440" y="184"/>
                  </a:lnTo>
                  <a:lnTo>
                    <a:pt x="469" y="197"/>
                  </a:lnTo>
                  <a:lnTo>
                    <a:pt x="512" y="208"/>
                  </a:lnTo>
                  <a:lnTo>
                    <a:pt x="566" y="220"/>
                  </a:lnTo>
                  <a:lnTo>
                    <a:pt x="547" y="226"/>
                  </a:lnTo>
                  <a:lnTo>
                    <a:pt x="547" y="231"/>
                  </a:lnTo>
                  <a:lnTo>
                    <a:pt x="566" y="233"/>
                  </a:lnTo>
                  <a:lnTo>
                    <a:pt x="577" y="231"/>
                  </a:lnTo>
                  <a:lnTo>
                    <a:pt x="589" y="220"/>
                  </a:lnTo>
                  <a:lnTo>
                    <a:pt x="577" y="214"/>
                  </a:lnTo>
                  <a:lnTo>
                    <a:pt x="607" y="220"/>
                  </a:lnTo>
                  <a:lnTo>
                    <a:pt x="625" y="208"/>
                  </a:lnTo>
                  <a:lnTo>
                    <a:pt x="625" y="226"/>
                  </a:lnTo>
                  <a:lnTo>
                    <a:pt x="625" y="231"/>
                  </a:lnTo>
                  <a:lnTo>
                    <a:pt x="630" y="239"/>
                  </a:lnTo>
                  <a:lnTo>
                    <a:pt x="638" y="243"/>
                  </a:lnTo>
                  <a:lnTo>
                    <a:pt x="638" y="231"/>
                  </a:lnTo>
                  <a:lnTo>
                    <a:pt x="636" y="220"/>
                  </a:lnTo>
                  <a:lnTo>
                    <a:pt x="636" y="203"/>
                  </a:lnTo>
                  <a:lnTo>
                    <a:pt x="638" y="208"/>
                  </a:lnTo>
                  <a:lnTo>
                    <a:pt x="643" y="220"/>
                  </a:lnTo>
                  <a:lnTo>
                    <a:pt x="655" y="220"/>
                  </a:lnTo>
                  <a:lnTo>
                    <a:pt x="649" y="231"/>
                  </a:lnTo>
                  <a:lnTo>
                    <a:pt x="655" y="239"/>
                  </a:lnTo>
                  <a:lnTo>
                    <a:pt x="674" y="243"/>
                  </a:lnTo>
                  <a:lnTo>
                    <a:pt x="691" y="233"/>
                  </a:lnTo>
                  <a:lnTo>
                    <a:pt x="702" y="243"/>
                  </a:lnTo>
                  <a:lnTo>
                    <a:pt x="725" y="239"/>
                  </a:lnTo>
                  <a:lnTo>
                    <a:pt x="738" y="226"/>
                  </a:lnTo>
                  <a:lnTo>
                    <a:pt x="769" y="172"/>
                  </a:lnTo>
                  <a:lnTo>
                    <a:pt x="792" y="131"/>
                  </a:lnTo>
                  <a:lnTo>
                    <a:pt x="799" y="100"/>
                  </a:lnTo>
                  <a:lnTo>
                    <a:pt x="803" y="100"/>
                  </a:lnTo>
                  <a:lnTo>
                    <a:pt x="810" y="108"/>
                  </a:lnTo>
                  <a:lnTo>
                    <a:pt x="799" y="172"/>
                  </a:lnTo>
                  <a:lnTo>
                    <a:pt x="792" y="197"/>
                  </a:lnTo>
                  <a:lnTo>
                    <a:pt x="792" y="214"/>
                  </a:lnTo>
                  <a:lnTo>
                    <a:pt x="799" y="233"/>
                  </a:lnTo>
                  <a:lnTo>
                    <a:pt x="810" y="256"/>
                  </a:lnTo>
                  <a:lnTo>
                    <a:pt x="822" y="269"/>
                  </a:lnTo>
                  <a:lnTo>
                    <a:pt x="833" y="273"/>
                  </a:lnTo>
                  <a:lnTo>
                    <a:pt x="852" y="279"/>
                  </a:lnTo>
                  <a:lnTo>
                    <a:pt x="852" y="292"/>
                  </a:lnTo>
                  <a:lnTo>
                    <a:pt x="845" y="279"/>
                  </a:lnTo>
                  <a:lnTo>
                    <a:pt x="839" y="273"/>
                  </a:lnTo>
                  <a:lnTo>
                    <a:pt x="828" y="279"/>
                  </a:lnTo>
                  <a:lnTo>
                    <a:pt x="833" y="292"/>
                  </a:lnTo>
                  <a:lnTo>
                    <a:pt x="839" y="298"/>
                  </a:lnTo>
                  <a:lnTo>
                    <a:pt x="858" y="309"/>
                  </a:lnTo>
                  <a:lnTo>
                    <a:pt x="869" y="321"/>
                  </a:lnTo>
                  <a:lnTo>
                    <a:pt x="875" y="334"/>
                  </a:lnTo>
                  <a:lnTo>
                    <a:pt x="864" y="334"/>
                  </a:lnTo>
                  <a:lnTo>
                    <a:pt x="858" y="345"/>
                  </a:lnTo>
                  <a:lnTo>
                    <a:pt x="892" y="345"/>
                  </a:lnTo>
                  <a:lnTo>
                    <a:pt x="905" y="328"/>
                  </a:lnTo>
                  <a:lnTo>
                    <a:pt x="911" y="321"/>
                  </a:lnTo>
                  <a:lnTo>
                    <a:pt x="911" y="309"/>
                  </a:lnTo>
                  <a:lnTo>
                    <a:pt x="923" y="298"/>
                  </a:lnTo>
                  <a:lnTo>
                    <a:pt x="947" y="298"/>
                  </a:lnTo>
                  <a:lnTo>
                    <a:pt x="934" y="309"/>
                  </a:lnTo>
                  <a:lnTo>
                    <a:pt x="923" y="315"/>
                  </a:lnTo>
                  <a:lnTo>
                    <a:pt x="917" y="328"/>
                  </a:lnTo>
                  <a:lnTo>
                    <a:pt x="911" y="351"/>
                  </a:lnTo>
                  <a:lnTo>
                    <a:pt x="905" y="364"/>
                  </a:lnTo>
                  <a:lnTo>
                    <a:pt x="892" y="364"/>
                  </a:lnTo>
                  <a:lnTo>
                    <a:pt x="888" y="375"/>
                  </a:lnTo>
                  <a:lnTo>
                    <a:pt x="864" y="381"/>
                  </a:lnTo>
                  <a:lnTo>
                    <a:pt x="845" y="394"/>
                  </a:lnTo>
                  <a:lnTo>
                    <a:pt x="845" y="398"/>
                  </a:lnTo>
                  <a:lnTo>
                    <a:pt x="858" y="410"/>
                  </a:lnTo>
                  <a:lnTo>
                    <a:pt x="839" y="411"/>
                  </a:lnTo>
                  <a:lnTo>
                    <a:pt x="845" y="423"/>
                  </a:lnTo>
                  <a:lnTo>
                    <a:pt x="828" y="423"/>
                  </a:lnTo>
                  <a:lnTo>
                    <a:pt x="816" y="434"/>
                  </a:lnTo>
                  <a:lnTo>
                    <a:pt x="822" y="411"/>
                  </a:lnTo>
                  <a:lnTo>
                    <a:pt x="810" y="417"/>
                  </a:lnTo>
                  <a:lnTo>
                    <a:pt x="799" y="434"/>
                  </a:lnTo>
                  <a:lnTo>
                    <a:pt x="799" y="447"/>
                  </a:lnTo>
                  <a:lnTo>
                    <a:pt x="810" y="452"/>
                  </a:lnTo>
                  <a:lnTo>
                    <a:pt x="763" y="459"/>
                  </a:lnTo>
                  <a:lnTo>
                    <a:pt x="756" y="465"/>
                  </a:lnTo>
                  <a:lnTo>
                    <a:pt x="733" y="476"/>
                  </a:lnTo>
                  <a:lnTo>
                    <a:pt x="738" y="452"/>
                  </a:lnTo>
                  <a:lnTo>
                    <a:pt x="720" y="465"/>
                  </a:lnTo>
                  <a:lnTo>
                    <a:pt x="697" y="476"/>
                  </a:lnTo>
                  <a:lnTo>
                    <a:pt x="691" y="501"/>
                  </a:lnTo>
                  <a:lnTo>
                    <a:pt x="666" y="512"/>
                  </a:lnTo>
                  <a:lnTo>
                    <a:pt x="649" y="542"/>
                  </a:lnTo>
                  <a:lnTo>
                    <a:pt x="630" y="577"/>
                  </a:lnTo>
                  <a:lnTo>
                    <a:pt x="620" y="608"/>
                  </a:lnTo>
                  <a:lnTo>
                    <a:pt x="607" y="662"/>
                  </a:lnTo>
                  <a:lnTo>
                    <a:pt x="613" y="679"/>
                  </a:lnTo>
                  <a:lnTo>
                    <a:pt x="620" y="709"/>
                  </a:lnTo>
                  <a:lnTo>
                    <a:pt x="613" y="738"/>
                  </a:lnTo>
                  <a:lnTo>
                    <a:pt x="620" y="768"/>
                  </a:lnTo>
                  <a:lnTo>
                    <a:pt x="584" y="744"/>
                  </a:lnTo>
                  <a:lnTo>
                    <a:pt x="548" y="732"/>
                  </a:lnTo>
                  <a:lnTo>
                    <a:pt x="518" y="727"/>
                  </a:lnTo>
                  <a:lnTo>
                    <a:pt x="488" y="721"/>
                  </a:lnTo>
                  <a:lnTo>
                    <a:pt x="458" y="715"/>
                  </a:lnTo>
                  <a:lnTo>
                    <a:pt x="423" y="702"/>
                  </a:lnTo>
                  <a:lnTo>
                    <a:pt x="387" y="685"/>
                  </a:lnTo>
                  <a:lnTo>
                    <a:pt x="363" y="679"/>
                  </a:lnTo>
                  <a:lnTo>
                    <a:pt x="334" y="679"/>
                  </a:lnTo>
                  <a:lnTo>
                    <a:pt x="309" y="679"/>
                  </a:lnTo>
                  <a:lnTo>
                    <a:pt x="285" y="685"/>
                  </a:lnTo>
                  <a:lnTo>
                    <a:pt x="256" y="721"/>
                  </a:lnTo>
                  <a:lnTo>
                    <a:pt x="232" y="751"/>
                  </a:lnTo>
                  <a:lnTo>
                    <a:pt x="220" y="768"/>
                  </a:lnTo>
                  <a:lnTo>
                    <a:pt x="214" y="787"/>
                  </a:lnTo>
                  <a:lnTo>
                    <a:pt x="191" y="768"/>
                  </a:lnTo>
                  <a:lnTo>
                    <a:pt x="184" y="757"/>
                  </a:lnTo>
                  <a:lnTo>
                    <a:pt x="173" y="757"/>
                  </a:lnTo>
                  <a:lnTo>
                    <a:pt x="160" y="738"/>
                  </a:lnTo>
                  <a:lnTo>
                    <a:pt x="142" y="732"/>
                  </a:lnTo>
                  <a:lnTo>
                    <a:pt x="119" y="732"/>
                  </a:lnTo>
                  <a:lnTo>
                    <a:pt x="95" y="744"/>
                  </a:lnTo>
                  <a:lnTo>
                    <a:pt x="89" y="768"/>
                  </a:lnTo>
                  <a:lnTo>
                    <a:pt x="95" y="793"/>
                  </a:lnTo>
                  <a:lnTo>
                    <a:pt x="102" y="823"/>
                  </a:lnTo>
                  <a:lnTo>
                    <a:pt x="119" y="833"/>
                  </a:lnTo>
                  <a:lnTo>
                    <a:pt x="148" y="840"/>
                  </a:lnTo>
                  <a:lnTo>
                    <a:pt x="160" y="840"/>
                  </a:lnTo>
                  <a:lnTo>
                    <a:pt x="178" y="827"/>
                  </a:lnTo>
                  <a:lnTo>
                    <a:pt x="184" y="840"/>
                  </a:lnTo>
                  <a:lnTo>
                    <a:pt x="196" y="846"/>
                  </a:lnTo>
                  <a:lnTo>
                    <a:pt x="214" y="858"/>
                  </a:lnTo>
                  <a:lnTo>
                    <a:pt x="245" y="863"/>
                  </a:lnTo>
                  <a:lnTo>
                    <a:pt x="250" y="869"/>
                  </a:lnTo>
                  <a:lnTo>
                    <a:pt x="256" y="876"/>
                  </a:lnTo>
                  <a:lnTo>
                    <a:pt x="268" y="882"/>
                  </a:lnTo>
                  <a:lnTo>
                    <a:pt x="273" y="899"/>
                  </a:lnTo>
                  <a:lnTo>
                    <a:pt x="262" y="912"/>
                  </a:lnTo>
                  <a:lnTo>
                    <a:pt x="245" y="918"/>
                  </a:lnTo>
                  <a:lnTo>
                    <a:pt x="232" y="930"/>
                  </a:lnTo>
                  <a:lnTo>
                    <a:pt x="220" y="918"/>
                  </a:lnTo>
                  <a:lnTo>
                    <a:pt x="209" y="912"/>
                  </a:lnTo>
                  <a:lnTo>
                    <a:pt x="201" y="922"/>
                  </a:lnTo>
                  <a:lnTo>
                    <a:pt x="196" y="930"/>
                  </a:lnTo>
                  <a:lnTo>
                    <a:pt x="191" y="918"/>
                  </a:lnTo>
                  <a:lnTo>
                    <a:pt x="184" y="918"/>
                  </a:lnTo>
                  <a:lnTo>
                    <a:pt x="178" y="935"/>
                  </a:lnTo>
                  <a:lnTo>
                    <a:pt x="148" y="966"/>
                  </a:lnTo>
                  <a:lnTo>
                    <a:pt x="160" y="977"/>
                  </a:lnTo>
                  <a:lnTo>
                    <a:pt x="167" y="989"/>
                  </a:lnTo>
                  <a:lnTo>
                    <a:pt x="155" y="994"/>
                  </a:lnTo>
                  <a:lnTo>
                    <a:pt x="142" y="994"/>
                  </a:lnTo>
                  <a:lnTo>
                    <a:pt x="137" y="1002"/>
                  </a:lnTo>
                  <a:lnTo>
                    <a:pt x="131" y="1019"/>
                  </a:lnTo>
                  <a:lnTo>
                    <a:pt x="119" y="1030"/>
                  </a:lnTo>
                  <a:lnTo>
                    <a:pt x="102" y="1025"/>
                  </a:lnTo>
                  <a:lnTo>
                    <a:pt x="102" y="1013"/>
                  </a:lnTo>
                  <a:lnTo>
                    <a:pt x="89" y="994"/>
                  </a:lnTo>
                  <a:lnTo>
                    <a:pt x="76" y="983"/>
                  </a:lnTo>
                  <a:lnTo>
                    <a:pt x="83" y="958"/>
                  </a:lnTo>
                  <a:lnTo>
                    <a:pt x="89" y="947"/>
                  </a:lnTo>
                  <a:lnTo>
                    <a:pt x="89" y="922"/>
                  </a:lnTo>
                  <a:lnTo>
                    <a:pt x="95" y="905"/>
                  </a:lnTo>
                  <a:lnTo>
                    <a:pt x="76" y="888"/>
                  </a:lnTo>
                  <a:lnTo>
                    <a:pt x="66" y="869"/>
                  </a:lnTo>
                  <a:lnTo>
                    <a:pt x="47" y="869"/>
                  </a:lnTo>
                  <a:lnTo>
                    <a:pt x="23" y="858"/>
                  </a:lnTo>
                  <a:lnTo>
                    <a:pt x="11" y="846"/>
                  </a:lnTo>
                  <a:lnTo>
                    <a:pt x="0" y="833"/>
                  </a:lnTo>
                  <a:lnTo>
                    <a:pt x="11" y="816"/>
                  </a:lnTo>
                  <a:lnTo>
                    <a:pt x="11" y="793"/>
                  </a:lnTo>
                  <a:lnTo>
                    <a:pt x="6" y="768"/>
                  </a:lnTo>
                  <a:lnTo>
                    <a:pt x="0" y="751"/>
                  </a:lnTo>
                  <a:lnTo>
                    <a:pt x="11" y="738"/>
                  </a:lnTo>
                  <a:lnTo>
                    <a:pt x="30" y="721"/>
                  </a:lnTo>
                  <a:lnTo>
                    <a:pt x="34" y="709"/>
                  </a:lnTo>
                  <a:lnTo>
                    <a:pt x="47" y="702"/>
                  </a:lnTo>
                  <a:lnTo>
                    <a:pt x="66" y="702"/>
                  </a:lnTo>
                  <a:lnTo>
                    <a:pt x="70" y="691"/>
                  </a:lnTo>
                  <a:lnTo>
                    <a:pt x="70" y="673"/>
                  </a:lnTo>
                  <a:lnTo>
                    <a:pt x="76" y="655"/>
                  </a:lnTo>
                  <a:lnTo>
                    <a:pt x="95" y="632"/>
                  </a:lnTo>
                  <a:lnTo>
                    <a:pt x="89" y="626"/>
                  </a:lnTo>
                  <a:lnTo>
                    <a:pt x="76" y="626"/>
                  </a:lnTo>
                  <a:lnTo>
                    <a:pt x="70" y="613"/>
                  </a:lnTo>
                  <a:lnTo>
                    <a:pt x="53" y="608"/>
                  </a:lnTo>
                  <a:lnTo>
                    <a:pt x="42" y="601"/>
                  </a:lnTo>
                  <a:lnTo>
                    <a:pt x="34" y="590"/>
                  </a:lnTo>
                  <a:lnTo>
                    <a:pt x="47" y="577"/>
                  </a:lnTo>
                  <a:lnTo>
                    <a:pt x="53" y="560"/>
                  </a:lnTo>
                  <a:lnTo>
                    <a:pt x="66" y="554"/>
                  </a:lnTo>
                  <a:lnTo>
                    <a:pt x="83" y="565"/>
                  </a:lnTo>
                  <a:lnTo>
                    <a:pt x="102" y="573"/>
                  </a:lnTo>
                  <a:lnTo>
                    <a:pt x="106" y="565"/>
                  </a:lnTo>
                  <a:lnTo>
                    <a:pt x="119" y="584"/>
                  </a:lnTo>
                  <a:lnTo>
                    <a:pt x="142" y="577"/>
                  </a:lnTo>
                  <a:lnTo>
                    <a:pt x="155" y="565"/>
                  </a:lnTo>
                  <a:lnTo>
                    <a:pt x="160" y="577"/>
                  </a:lnTo>
                  <a:lnTo>
                    <a:pt x="167" y="584"/>
                  </a:lnTo>
                  <a:lnTo>
                    <a:pt x="184" y="588"/>
                  </a:lnTo>
                  <a:lnTo>
                    <a:pt x="196" y="577"/>
                  </a:lnTo>
                  <a:lnTo>
                    <a:pt x="220" y="565"/>
                  </a:lnTo>
                  <a:lnTo>
                    <a:pt x="232" y="537"/>
                  </a:lnTo>
                  <a:lnTo>
                    <a:pt x="220" y="512"/>
                  </a:lnTo>
                  <a:lnTo>
                    <a:pt x="201" y="506"/>
                  </a:lnTo>
                  <a:lnTo>
                    <a:pt x="191" y="501"/>
                  </a:lnTo>
                  <a:lnTo>
                    <a:pt x="196" y="483"/>
                  </a:lnTo>
                  <a:lnTo>
                    <a:pt x="191" y="465"/>
                  </a:lnTo>
                  <a:lnTo>
                    <a:pt x="184" y="440"/>
                  </a:lnTo>
                  <a:lnTo>
                    <a:pt x="190" y="417"/>
                  </a:lnTo>
                  <a:lnTo>
                    <a:pt x="196" y="410"/>
                  </a:lnTo>
                  <a:lnTo>
                    <a:pt x="214" y="394"/>
                  </a:lnTo>
                  <a:lnTo>
                    <a:pt x="214" y="368"/>
                  </a:lnTo>
                  <a:lnTo>
                    <a:pt x="209" y="328"/>
                  </a:lnTo>
                  <a:lnTo>
                    <a:pt x="196" y="309"/>
                  </a:lnTo>
                  <a:lnTo>
                    <a:pt x="201" y="273"/>
                  </a:lnTo>
                  <a:lnTo>
                    <a:pt x="196" y="239"/>
                  </a:lnTo>
                  <a:lnTo>
                    <a:pt x="201" y="226"/>
                  </a:lnTo>
                  <a:lnTo>
                    <a:pt x="196" y="208"/>
                  </a:lnTo>
                  <a:lnTo>
                    <a:pt x="190" y="190"/>
                  </a:lnTo>
                  <a:lnTo>
                    <a:pt x="184" y="161"/>
                  </a:lnTo>
                  <a:lnTo>
                    <a:pt x="167" y="144"/>
                  </a:lnTo>
                  <a:lnTo>
                    <a:pt x="155" y="131"/>
                  </a:lnTo>
                  <a:lnTo>
                    <a:pt x="142" y="119"/>
                  </a:lnTo>
                  <a:lnTo>
                    <a:pt x="142" y="100"/>
                  </a:lnTo>
                  <a:lnTo>
                    <a:pt x="131" y="83"/>
                  </a:lnTo>
                  <a:lnTo>
                    <a:pt x="125" y="59"/>
                  </a:lnTo>
                  <a:lnTo>
                    <a:pt x="125" y="47"/>
                  </a:lnTo>
                  <a:lnTo>
                    <a:pt x="119" y="30"/>
                  </a:lnTo>
                  <a:lnTo>
                    <a:pt x="125" y="24"/>
                  </a:lnTo>
                  <a:lnTo>
                    <a:pt x="137" y="36"/>
                  </a:lnTo>
                  <a:lnTo>
                    <a:pt x="148" y="41"/>
                  </a:lnTo>
                  <a:lnTo>
                    <a:pt x="167" y="24"/>
                  </a:lnTo>
                  <a:lnTo>
                    <a:pt x="167" y="5"/>
                  </a:lnTo>
                  <a:lnTo>
                    <a:pt x="173" y="0"/>
                  </a:lnTo>
                  <a:lnTo>
                    <a:pt x="184" y="18"/>
                  </a:lnTo>
                  <a:lnTo>
                    <a:pt x="201" y="30"/>
                  </a:lnTo>
                  <a:lnTo>
                    <a:pt x="245" y="54"/>
                  </a:lnTo>
                  <a:lnTo>
                    <a:pt x="273" y="77"/>
                  </a:lnTo>
                  <a:lnTo>
                    <a:pt x="309" y="95"/>
                  </a:lnTo>
                  <a:lnTo>
                    <a:pt x="321" y="113"/>
                  </a:lnTo>
                  <a:lnTo>
                    <a:pt x="351" y="131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4" name="Freeform 134"/>
            <p:cNvSpPr>
              <a:spLocks/>
            </p:cNvSpPr>
            <p:nvPr/>
          </p:nvSpPr>
          <p:spPr bwMode="auto">
            <a:xfrm>
              <a:off x="3421" y="1742"/>
              <a:ext cx="310" cy="376"/>
            </a:xfrm>
            <a:custGeom>
              <a:avLst/>
              <a:gdLst>
                <a:gd name="T0" fmla="*/ 18610080 w 249"/>
                <a:gd name="T1" fmla="*/ 19 h 370"/>
                <a:gd name="T2" fmla="*/ 22033659 w 249"/>
                <a:gd name="T3" fmla="*/ 6 h 370"/>
                <a:gd name="T4" fmla="*/ 22907794 w 249"/>
                <a:gd name="T5" fmla="*/ 0 h 370"/>
                <a:gd name="T6" fmla="*/ 26985909 w 249"/>
                <a:gd name="T7" fmla="*/ 12 h 370"/>
                <a:gd name="T8" fmla="*/ 28567651 w 249"/>
                <a:gd name="T9" fmla="*/ 6 h 370"/>
                <a:gd name="T10" fmla="*/ 26985909 w 249"/>
                <a:gd name="T11" fmla="*/ 99 h 370"/>
                <a:gd name="T12" fmla="*/ 26172928 w 249"/>
                <a:gd name="T13" fmla="*/ 99 h 370"/>
                <a:gd name="T14" fmla="*/ 25386160 w 249"/>
                <a:gd name="T15" fmla="*/ 179 h 370"/>
                <a:gd name="T16" fmla="*/ 26985909 w 249"/>
                <a:gd name="T17" fmla="*/ 256 h 370"/>
                <a:gd name="T18" fmla="*/ 29706797 w 249"/>
                <a:gd name="T19" fmla="*/ 293 h 370"/>
                <a:gd name="T20" fmla="*/ 29706797 w 249"/>
                <a:gd name="T21" fmla="*/ 308 h 370"/>
                <a:gd name="T22" fmla="*/ 27640111 w 249"/>
                <a:gd name="T23" fmla="*/ 308 h 370"/>
                <a:gd name="T24" fmla="*/ 26172928 w 249"/>
                <a:gd name="T25" fmla="*/ 338 h 370"/>
                <a:gd name="T26" fmla="*/ 27640111 w 249"/>
                <a:gd name="T27" fmla="*/ 358 h 370"/>
                <a:gd name="T28" fmla="*/ 26172928 w 249"/>
                <a:gd name="T29" fmla="*/ 397 h 370"/>
                <a:gd name="T30" fmla="*/ 27640111 w 249"/>
                <a:gd name="T31" fmla="*/ 436 h 370"/>
                <a:gd name="T32" fmla="*/ 26172928 w 249"/>
                <a:gd name="T33" fmla="*/ 582 h 370"/>
                <a:gd name="T34" fmla="*/ 30390221 w 249"/>
                <a:gd name="T35" fmla="*/ 665 h 370"/>
                <a:gd name="T36" fmla="*/ 31982401 w 249"/>
                <a:gd name="T37" fmla="*/ 685 h 370"/>
                <a:gd name="T38" fmla="*/ 31123544 w 249"/>
                <a:gd name="T39" fmla="*/ 720 h 370"/>
                <a:gd name="T40" fmla="*/ 31982401 w 249"/>
                <a:gd name="T41" fmla="*/ 767 h 370"/>
                <a:gd name="T42" fmla="*/ 34353320 w 249"/>
                <a:gd name="T43" fmla="*/ 779 h 370"/>
                <a:gd name="T44" fmla="*/ 31123544 w 249"/>
                <a:gd name="T45" fmla="*/ 867 h 370"/>
                <a:gd name="T46" fmla="*/ 29706797 w 249"/>
                <a:gd name="T47" fmla="*/ 881 h 370"/>
                <a:gd name="T48" fmla="*/ 26985909 w 249"/>
                <a:gd name="T49" fmla="*/ 881 h 370"/>
                <a:gd name="T50" fmla="*/ 24727576 w 249"/>
                <a:gd name="T51" fmla="*/ 842 h 370"/>
                <a:gd name="T52" fmla="*/ 22033659 w 249"/>
                <a:gd name="T53" fmla="*/ 826 h 370"/>
                <a:gd name="T54" fmla="*/ 18041981 w 249"/>
                <a:gd name="T55" fmla="*/ 856 h 370"/>
                <a:gd name="T56" fmla="*/ 13929753 w 249"/>
                <a:gd name="T57" fmla="*/ 813 h 370"/>
                <a:gd name="T58" fmla="*/ 12365362 w 249"/>
                <a:gd name="T59" fmla="*/ 813 h 370"/>
                <a:gd name="T60" fmla="*/ 9801000 w 249"/>
                <a:gd name="T61" fmla="*/ 842 h 370"/>
                <a:gd name="T62" fmla="*/ 9801000 w 249"/>
                <a:gd name="T63" fmla="*/ 842 h 370"/>
                <a:gd name="T64" fmla="*/ 9801000 w 249"/>
                <a:gd name="T65" fmla="*/ 779 h 370"/>
                <a:gd name="T66" fmla="*/ 9801000 w 249"/>
                <a:gd name="T67" fmla="*/ 720 h 370"/>
                <a:gd name="T68" fmla="*/ 10693015 w 249"/>
                <a:gd name="T69" fmla="*/ 673 h 370"/>
                <a:gd name="T70" fmla="*/ 11295795 w 249"/>
                <a:gd name="T71" fmla="*/ 624 h 370"/>
                <a:gd name="T72" fmla="*/ 11295795 w 249"/>
                <a:gd name="T73" fmla="*/ 582 h 370"/>
                <a:gd name="T74" fmla="*/ 10693015 w 249"/>
                <a:gd name="T75" fmla="*/ 514 h 370"/>
                <a:gd name="T76" fmla="*/ 9801000 w 249"/>
                <a:gd name="T77" fmla="*/ 455 h 370"/>
                <a:gd name="T78" fmla="*/ 8107125 w 249"/>
                <a:gd name="T79" fmla="*/ 413 h 370"/>
                <a:gd name="T80" fmla="*/ 7347613 w 249"/>
                <a:gd name="T81" fmla="*/ 376 h 370"/>
                <a:gd name="T82" fmla="*/ 6640609 w 249"/>
                <a:gd name="T83" fmla="*/ 385 h 370"/>
                <a:gd name="T84" fmla="*/ 7347613 w 249"/>
                <a:gd name="T85" fmla="*/ 413 h 370"/>
                <a:gd name="T86" fmla="*/ 5567437 w 249"/>
                <a:gd name="T87" fmla="*/ 397 h 370"/>
                <a:gd name="T88" fmla="*/ 3975704 w 249"/>
                <a:gd name="T89" fmla="*/ 436 h 370"/>
                <a:gd name="T90" fmla="*/ 1698133 w 249"/>
                <a:gd name="T91" fmla="*/ 455 h 370"/>
                <a:gd name="T92" fmla="*/ 0 w 249"/>
                <a:gd name="T93" fmla="*/ 397 h 370"/>
                <a:gd name="T94" fmla="*/ 0 w 249"/>
                <a:gd name="T95" fmla="*/ 376 h 370"/>
                <a:gd name="T96" fmla="*/ 2413487 w 249"/>
                <a:gd name="T97" fmla="*/ 385 h 370"/>
                <a:gd name="T98" fmla="*/ 3975704 w 249"/>
                <a:gd name="T99" fmla="*/ 325 h 370"/>
                <a:gd name="T100" fmla="*/ 5567437 w 249"/>
                <a:gd name="T101" fmla="*/ 244 h 370"/>
                <a:gd name="T102" fmla="*/ 4949672 w 249"/>
                <a:gd name="T103" fmla="*/ 200 h 370"/>
                <a:gd name="T104" fmla="*/ 4949672 w 249"/>
                <a:gd name="T105" fmla="*/ 133 h 370"/>
                <a:gd name="T106" fmla="*/ 2413487 w 249"/>
                <a:gd name="T107" fmla="*/ 125 h 370"/>
                <a:gd name="T108" fmla="*/ 1698133 w 249"/>
                <a:gd name="T109" fmla="*/ 99 h 370"/>
                <a:gd name="T110" fmla="*/ 1698133 w 249"/>
                <a:gd name="T111" fmla="*/ 30 h 370"/>
                <a:gd name="T112" fmla="*/ 4949672 w 249"/>
                <a:gd name="T113" fmla="*/ 25 h 370"/>
                <a:gd name="T114" fmla="*/ 7347613 w 249"/>
                <a:gd name="T115" fmla="*/ 30 h 370"/>
                <a:gd name="T116" fmla="*/ 9801000 w 249"/>
                <a:gd name="T117" fmla="*/ 25 h 370"/>
                <a:gd name="T118" fmla="*/ 10693015 w 249"/>
                <a:gd name="T119" fmla="*/ 13 h 370"/>
                <a:gd name="T120" fmla="*/ 13929753 w 249"/>
                <a:gd name="T121" fmla="*/ 19 h 370"/>
                <a:gd name="T122" fmla="*/ 18610080 w 249"/>
                <a:gd name="T123" fmla="*/ 19 h 370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249"/>
                <a:gd name="T187" fmla="*/ 0 h 370"/>
                <a:gd name="T188" fmla="*/ 249 w 249"/>
                <a:gd name="T189" fmla="*/ 370 h 370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249" h="370">
                  <a:moveTo>
                    <a:pt x="136" y="19"/>
                  </a:moveTo>
                  <a:lnTo>
                    <a:pt x="160" y="6"/>
                  </a:lnTo>
                  <a:lnTo>
                    <a:pt x="166" y="0"/>
                  </a:lnTo>
                  <a:lnTo>
                    <a:pt x="196" y="12"/>
                  </a:lnTo>
                  <a:lnTo>
                    <a:pt x="208" y="6"/>
                  </a:lnTo>
                  <a:lnTo>
                    <a:pt x="196" y="42"/>
                  </a:lnTo>
                  <a:lnTo>
                    <a:pt x="190" y="42"/>
                  </a:lnTo>
                  <a:lnTo>
                    <a:pt x="185" y="78"/>
                  </a:lnTo>
                  <a:lnTo>
                    <a:pt x="196" y="108"/>
                  </a:lnTo>
                  <a:lnTo>
                    <a:pt x="215" y="125"/>
                  </a:lnTo>
                  <a:lnTo>
                    <a:pt x="215" y="131"/>
                  </a:lnTo>
                  <a:lnTo>
                    <a:pt x="202" y="131"/>
                  </a:lnTo>
                  <a:lnTo>
                    <a:pt x="190" y="143"/>
                  </a:lnTo>
                  <a:lnTo>
                    <a:pt x="202" y="150"/>
                  </a:lnTo>
                  <a:lnTo>
                    <a:pt x="190" y="167"/>
                  </a:lnTo>
                  <a:lnTo>
                    <a:pt x="202" y="184"/>
                  </a:lnTo>
                  <a:lnTo>
                    <a:pt x="190" y="245"/>
                  </a:lnTo>
                  <a:lnTo>
                    <a:pt x="221" y="279"/>
                  </a:lnTo>
                  <a:lnTo>
                    <a:pt x="232" y="287"/>
                  </a:lnTo>
                  <a:lnTo>
                    <a:pt x="226" y="304"/>
                  </a:lnTo>
                  <a:lnTo>
                    <a:pt x="232" y="323"/>
                  </a:lnTo>
                  <a:lnTo>
                    <a:pt x="249" y="328"/>
                  </a:lnTo>
                  <a:lnTo>
                    <a:pt x="226" y="364"/>
                  </a:lnTo>
                  <a:lnTo>
                    <a:pt x="215" y="370"/>
                  </a:lnTo>
                  <a:lnTo>
                    <a:pt x="196" y="370"/>
                  </a:lnTo>
                  <a:lnTo>
                    <a:pt x="179" y="353"/>
                  </a:lnTo>
                  <a:lnTo>
                    <a:pt x="160" y="346"/>
                  </a:lnTo>
                  <a:lnTo>
                    <a:pt x="131" y="359"/>
                  </a:lnTo>
                  <a:lnTo>
                    <a:pt x="101" y="340"/>
                  </a:lnTo>
                  <a:lnTo>
                    <a:pt x="90" y="340"/>
                  </a:lnTo>
                  <a:lnTo>
                    <a:pt x="71" y="353"/>
                  </a:lnTo>
                  <a:lnTo>
                    <a:pt x="71" y="328"/>
                  </a:lnTo>
                  <a:lnTo>
                    <a:pt x="71" y="304"/>
                  </a:lnTo>
                  <a:lnTo>
                    <a:pt x="77" y="281"/>
                  </a:lnTo>
                  <a:lnTo>
                    <a:pt x="82" y="263"/>
                  </a:lnTo>
                  <a:lnTo>
                    <a:pt x="82" y="245"/>
                  </a:lnTo>
                  <a:lnTo>
                    <a:pt x="77" y="215"/>
                  </a:lnTo>
                  <a:lnTo>
                    <a:pt x="71" y="192"/>
                  </a:lnTo>
                  <a:lnTo>
                    <a:pt x="59" y="174"/>
                  </a:lnTo>
                  <a:lnTo>
                    <a:pt x="54" y="156"/>
                  </a:lnTo>
                  <a:lnTo>
                    <a:pt x="48" y="161"/>
                  </a:lnTo>
                  <a:lnTo>
                    <a:pt x="54" y="174"/>
                  </a:lnTo>
                  <a:lnTo>
                    <a:pt x="41" y="167"/>
                  </a:lnTo>
                  <a:lnTo>
                    <a:pt x="29" y="184"/>
                  </a:lnTo>
                  <a:lnTo>
                    <a:pt x="12" y="192"/>
                  </a:lnTo>
                  <a:lnTo>
                    <a:pt x="0" y="167"/>
                  </a:lnTo>
                  <a:lnTo>
                    <a:pt x="0" y="156"/>
                  </a:lnTo>
                  <a:lnTo>
                    <a:pt x="18" y="161"/>
                  </a:lnTo>
                  <a:lnTo>
                    <a:pt x="29" y="138"/>
                  </a:lnTo>
                  <a:lnTo>
                    <a:pt x="41" y="102"/>
                  </a:lnTo>
                  <a:lnTo>
                    <a:pt x="36" y="85"/>
                  </a:lnTo>
                  <a:lnTo>
                    <a:pt x="36" y="59"/>
                  </a:lnTo>
                  <a:lnTo>
                    <a:pt x="18" y="55"/>
                  </a:lnTo>
                  <a:lnTo>
                    <a:pt x="12" y="42"/>
                  </a:lnTo>
                  <a:lnTo>
                    <a:pt x="12" y="30"/>
                  </a:lnTo>
                  <a:lnTo>
                    <a:pt x="36" y="25"/>
                  </a:lnTo>
                  <a:lnTo>
                    <a:pt x="54" y="30"/>
                  </a:lnTo>
                  <a:lnTo>
                    <a:pt x="71" y="25"/>
                  </a:lnTo>
                  <a:lnTo>
                    <a:pt x="77" y="13"/>
                  </a:lnTo>
                  <a:lnTo>
                    <a:pt x="101" y="19"/>
                  </a:lnTo>
                  <a:lnTo>
                    <a:pt x="136" y="19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5" name="Freeform 135"/>
            <p:cNvSpPr>
              <a:spLocks/>
            </p:cNvSpPr>
            <p:nvPr/>
          </p:nvSpPr>
          <p:spPr bwMode="auto">
            <a:xfrm>
              <a:off x="3481" y="2336"/>
              <a:ext cx="419" cy="304"/>
            </a:xfrm>
            <a:custGeom>
              <a:avLst/>
              <a:gdLst>
                <a:gd name="T0" fmla="*/ 4771022 w 340"/>
                <a:gd name="T1" fmla="*/ 782 h 298"/>
                <a:gd name="T2" fmla="*/ 4421162 w 340"/>
                <a:gd name="T3" fmla="*/ 873 h 298"/>
                <a:gd name="T4" fmla="*/ 1979485 w 340"/>
                <a:gd name="T5" fmla="*/ 873 h 298"/>
                <a:gd name="T6" fmla="*/ 1979485 w 340"/>
                <a:gd name="T7" fmla="*/ 733 h 298"/>
                <a:gd name="T8" fmla="*/ 618862 w 340"/>
                <a:gd name="T9" fmla="*/ 694 h 298"/>
                <a:gd name="T10" fmla="*/ 0 w 340"/>
                <a:gd name="T11" fmla="*/ 627 h 298"/>
                <a:gd name="T12" fmla="*/ 1057662 w 340"/>
                <a:gd name="T13" fmla="*/ 592 h 298"/>
                <a:gd name="T14" fmla="*/ 0 w 340"/>
                <a:gd name="T15" fmla="*/ 489 h 298"/>
                <a:gd name="T16" fmla="*/ 1979485 w 340"/>
                <a:gd name="T17" fmla="*/ 489 h 298"/>
                <a:gd name="T18" fmla="*/ 2439424 w 340"/>
                <a:gd name="T19" fmla="*/ 430 h 298"/>
                <a:gd name="T20" fmla="*/ 4771022 w 340"/>
                <a:gd name="T21" fmla="*/ 414 h 298"/>
                <a:gd name="T22" fmla="*/ 4771022 w 340"/>
                <a:gd name="T23" fmla="*/ 398 h 298"/>
                <a:gd name="T24" fmla="*/ 3504511 w 340"/>
                <a:gd name="T25" fmla="*/ 349 h 298"/>
                <a:gd name="T26" fmla="*/ 5322277 w 340"/>
                <a:gd name="T27" fmla="*/ 274 h 298"/>
                <a:gd name="T28" fmla="*/ 5772825 w 340"/>
                <a:gd name="T29" fmla="*/ 149 h 298"/>
                <a:gd name="T30" fmla="*/ 6734858 w 340"/>
                <a:gd name="T31" fmla="*/ 180 h 298"/>
                <a:gd name="T32" fmla="*/ 8553707 w 340"/>
                <a:gd name="T33" fmla="*/ 164 h 298"/>
                <a:gd name="T34" fmla="*/ 9170598 w 340"/>
                <a:gd name="T35" fmla="*/ 146 h 298"/>
                <a:gd name="T36" fmla="*/ 9960989 w 340"/>
                <a:gd name="T37" fmla="*/ 164 h 298"/>
                <a:gd name="T38" fmla="*/ 11882910 w 340"/>
                <a:gd name="T39" fmla="*/ 180 h 298"/>
                <a:gd name="T40" fmla="*/ 13352889 w 340"/>
                <a:gd name="T41" fmla="*/ 149 h 298"/>
                <a:gd name="T42" fmla="*/ 13692506 w 340"/>
                <a:gd name="T43" fmla="*/ 105 h 298"/>
                <a:gd name="T44" fmla="*/ 13352889 w 340"/>
                <a:gd name="T45" fmla="*/ 0 h 298"/>
                <a:gd name="T46" fmla="*/ 13352889 w 340"/>
                <a:gd name="T47" fmla="*/ 5 h 298"/>
                <a:gd name="T48" fmla="*/ 15729240 w 340"/>
                <a:gd name="T49" fmla="*/ 5 h 298"/>
                <a:gd name="T50" fmla="*/ 16614394 w 340"/>
                <a:gd name="T51" fmla="*/ 18 h 298"/>
                <a:gd name="T52" fmla="*/ 17672314 w 340"/>
                <a:gd name="T53" fmla="*/ 11 h 298"/>
                <a:gd name="T54" fmla="*/ 19014800 w 340"/>
                <a:gd name="T55" fmla="*/ 11 h 298"/>
                <a:gd name="T56" fmla="*/ 20961557 w 340"/>
                <a:gd name="T57" fmla="*/ 89 h 298"/>
                <a:gd name="T58" fmla="*/ 21853445 w 340"/>
                <a:gd name="T59" fmla="*/ 89 h 298"/>
                <a:gd name="T60" fmla="*/ 22239635 w 340"/>
                <a:gd name="T61" fmla="*/ 11 h 298"/>
                <a:gd name="T62" fmla="*/ 23225379 w 340"/>
                <a:gd name="T63" fmla="*/ 0 h 298"/>
                <a:gd name="T64" fmla="*/ 24129984 w 340"/>
                <a:gd name="T65" fmla="*/ 23 h 298"/>
                <a:gd name="T66" fmla="*/ 24129984 w 340"/>
                <a:gd name="T67" fmla="*/ 115 h 298"/>
                <a:gd name="T68" fmla="*/ 25189453 w 340"/>
                <a:gd name="T69" fmla="*/ 149 h 298"/>
                <a:gd name="T70" fmla="*/ 25626415 w 340"/>
                <a:gd name="T71" fmla="*/ 229 h 298"/>
                <a:gd name="T72" fmla="*/ 26254816 w 340"/>
                <a:gd name="T73" fmla="*/ 349 h 298"/>
                <a:gd name="T74" fmla="*/ 26254816 w 340"/>
                <a:gd name="T75" fmla="*/ 398 h 298"/>
                <a:gd name="T76" fmla="*/ 26977606 w 340"/>
                <a:gd name="T77" fmla="*/ 489 h 298"/>
                <a:gd name="T78" fmla="*/ 26977606 w 340"/>
                <a:gd name="T79" fmla="*/ 540 h 298"/>
                <a:gd name="T80" fmla="*/ 26525481 w 340"/>
                <a:gd name="T81" fmla="*/ 604 h 298"/>
                <a:gd name="T82" fmla="*/ 26254816 w 340"/>
                <a:gd name="T83" fmla="*/ 679 h 298"/>
                <a:gd name="T84" fmla="*/ 25189453 w 340"/>
                <a:gd name="T85" fmla="*/ 710 h 298"/>
                <a:gd name="T86" fmla="*/ 23225379 w 340"/>
                <a:gd name="T87" fmla="*/ 694 h 298"/>
                <a:gd name="T88" fmla="*/ 22804446 w 340"/>
                <a:gd name="T89" fmla="*/ 679 h 298"/>
                <a:gd name="T90" fmla="*/ 22239635 w 340"/>
                <a:gd name="T91" fmla="*/ 682 h 298"/>
                <a:gd name="T92" fmla="*/ 22239635 w 340"/>
                <a:gd name="T93" fmla="*/ 710 h 298"/>
                <a:gd name="T94" fmla="*/ 21436042 w 340"/>
                <a:gd name="T95" fmla="*/ 751 h 298"/>
                <a:gd name="T96" fmla="*/ 19929521 w 340"/>
                <a:gd name="T97" fmla="*/ 751 h 298"/>
                <a:gd name="T98" fmla="*/ 17085547 w 340"/>
                <a:gd name="T99" fmla="*/ 679 h 298"/>
                <a:gd name="T100" fmla="*/ 14760167 w 340"/>
                <a:gd name="T101" fmla="*/ 627 h 298"/>
                <a:gd name="T102" fmla="*/ 12855354 w 340"/>
                <a:gd name="T103" fmla="*/ 604 h 298"/>
                <a:gd name="T104" fmla="*/ 11415730 w 340"/>
                <a:gd name="T105" fmla="*/ 627 h 298"/>
                <a:gd name="T106" fmla="*/ 9491360 w 340"/>
                <a:gd name="T107" fmla="*/ 682 h 298"/>
                <a:gd name="T108" fmla="*/ 7134609 w 340"/>
                <a:gd name="T109" fmla="*/ 733 h 298"/>
                <a:gd name="T110" fmla="*/ 4771022 w 340"/>
                <a:gd name="T111" fmla="*/ 782 h 29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340"/>
                <a:gd name="T169" fmla="*/ 0 h 298"/>
                <a:gd name="T170" fmla="*/ 340 w 340"/>
                <a:gd name="T171" fmla="*/ 298 h 29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340" h="298">
                  <a:moveTo>
                    <a:pt x="61" y="267"/>
                  </a:moveTo>
                  <a:lnTo>
                    <a:pt x="55" y="298"/>
                  </a:lnTo>
                  <a:lnTo>
                    <a:pt x="25" y="298"/>
                  </a:lnTo>
                  <a:lnTo>
                    <a:pt x="25" y="250"/>
                  </a:lnTo>
                  <a:lnTo>
                    <a:pt x="8" y="237"/>
                  </a:lnTo>
                  <a:lnTo>
                    <a:pt x="0" y="214"/>
                  </a:lnTo>
                  <a:lnTo>
                    <a:pt x="13" y="203"/>
                  </a:lnTo>
                  <a:lnTo>
                    <a:pt x="0" y="167"/>
                  </a:lnTo>
                  <a:lnTo>
                    <a:pt x="25" y="167"/>
                  </a:lnTo>
                  <a:lnTo>
                    <a:pt x="31" y="148"/>
                  </a:lnTo>
                  <a:lnTo>
                    <a:pt x="61" y="142"/>
                  </a:lnTo>
                  <a:lnTo>
                    <a:pt x="61" y="136"/>
                  </a:lnTo>
                  <a:lnTo>
                    <a:pt x="44" y="119"/>
                  </a:lnTo>
                  <a:lnTo>
                    <a:pt x="67" y="95"/>
                  </a:lnTo>
                  <a:lnTo>
                    <a:pt x="72" y="54"/>
                  </a:lnTo>
                  <a:lnTo>
                    <a:pt x="85" y="64"/>
                  </a:lnTo>
                  <a:lnTo>
                    <a:pt x="108" y="59"/>
                  </a:lnTo>
                  <a:lnTo>
                    <a:pt x="116" y="53"/>
                  </a:lnTo>
                  <a:lnTo>
                    <a:pt x="126" y="59"/>
                  </a:lnTo>
                  <a:lnTo>
                    <a:pt x="150" y="64"/>
                  </a:lnTo>
                  <a:lnTo>
                    <a:pt x="169" y="54"/>
                  </a:lnTo>
                  <a:lnTo>
                    <a:pt x="173" y="36"/>
                  </a:lnTo>
                  <a:lnTo>
                    <a:pt x="169" y="0"/>
                  </a:lnTo>
                  <a:lnTo>
                    <a:pt x="169" y="5"/>
                  </a:lnTo>
                  <a:lnTo>
                    <a:pt x="198" y="5"/>
                  </a:lnTo>
                  <a:lnTo>
                    <a:pt x="209" y="18"/>
                  </a:lnTo>
                  <a:lnTo>
                    <a:pt x="222" y="11"/>
                  </a:lnTo>
                  <a:lnTo>
                    <a:pt x="239" y="11"/>
                  </a:lnTo>
                  <a:lnTo>
                    <a:pt x="264" y="28"/>
                  </a:lnTo>
                  <a:lnTo>
                    <a:pt x="275" y="28"/>
                  </a:lnTo>
                  <a:lnTo>
                    <a:pt x="281" y="11"/>
                  </a:lnTo>
                  <a:lnTo>
                    <a:pt x="293" y="0"/>
                  </a:lnTo>
                  <a:lnTo>
                    <a:pt x="304" y="23"/>
                  </a:lnTo>
                  <a:lnTo>
                    <a:pt x="304" y="41"/>
                  </a:lnTo>
                  <a:lnTo>
                    <a:pt x="317" y="54"/>
                  </a:lnTo>
                  <a:lnTo>
                    <a:pt x="323" y="77"/>
                  </a:lnTo>
                  <a:lnTo>
                    <a:pt x="330" y="119"/>
                  </a:lnTo>
                  <a:lnTo>
                    <a:pt x="330" y="136"/>
                  </a:lnTo>
                  <a:lnTo>
                    <a:pt x="340" y="167"/>
                  </a:lnTo>
                  <a:lnTo>
                    <a:pt x="340" y="184"/>
                  </a:lnTo>
                  <a:lnTo>
                    <a:pt x="334" y="207"/>
                  </a:lnTo>
                  <a:lnTo>
                    <a:pt x="330" y="231"/>
                  </a:lnTo>
                  <a:lnTo>
                    <a:pt x="317" y="243"/>
                  </a:lnTo>
                  <a:lnTo>
                    <a:pt x="293" y="237"/>
                  </a:lnTo>
                  <a:lnTo>
                    <a:pt x="287" y="231"/>
                  </a:lnTo>
                  <a:lnTo>
                    <a:pt x="281" y="233"/>
                  </a:lnTo>
                  <a:lnTo>
                    <a:pt x="281" y="243"/>
                  </a:lnTo>
                  <a:lnTo>
                    <a:pt x="270" y="256"/>
                  </a:lnTo>
                  <a:lnTo>
                    <a:pt x="251" y="256"/>
                  </a:lnTo>
                  <a:lnTo>
                    <a:pt x="215" y="231"/>
                  </a:lnTo>
                  <a:lnTo>
                    <a:pt x="186" y="214"/>
                  </a:lnTo>
                  <a:lnTo>
                    <a:pt x="162" y="207"/>
                  </a:lnTo>
                  <a:lnTo>
                    <a:pt x="144" y="214"/>
                  </a:lnTo>
                  <a:lnTo>
                    <a:pt x="120" y="233"/>
                  </a:lnTo>
                  <a:lnTo>
                    <a:pt x="90" y="250"/>
                  </a:lnTo>
                  <a:lnTo>
                    <a:pt x="61" y="267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6" name="Freeform 136"/>
            <p:cNvSpPr>
              <a:spLocks/>
            </p:cNvSpPr>
            <p:nvPr/>
          </p:nvSpPr>
          <p:spPr bwMode="auto">
            <a:xfrm>
              <a:off x="3549" y="2547"/>
              <a:ext cx="224" cy="231"/>
            </a:xfrm>
            <a:custGeom>
              <a:avLst/>
              <a:gdLst>
                <a:gd name="T0" fmla="*/ 1696230 w 184"/>
                <a:gd name="T1" fmla="*/ 371 h 227"/>
                <a:gd name="T2" fmla="*/ 712595 w 184"/>
                <a:gd name="T3" fmla="*/ 371 h 227"/>
                <a:gd name="T4" fmla="*/ 235881 w 184"/>
                <a:gd name="T5" fmla="*/ 338 h 227"/>
                <a:gd name="T6" fmla="*/ 505751 w 184"/>
                <a:gd name="T7" fmla="*/ 259 h 227"/>
                <a:gd name="T8" fmla="*/ 0 w 184"/>
                <a:gd name="T9" fmla="*/ 247 h 227"/>
                <a:gd name="T10" fmla="*/ 235881 w 184"/>
                <a:gd name="T11" fmla="*/ 142 h 227"/>
                <a:gd name="T12" fmla="*/ 1444523 w 184"/>
                <a:gd name="T13" fmla="*/ 108 h 227"/>
                <a:gd name="T14" fmla="*/ 2666233 w 184"/>
                <a:gd name="T15" fmla="*/ 26 h 227"/>
                <a:gd name="T16" fmla="*/ 3616081 w 184"/>
                <a:gd name="T17" fmla="*/ 7 h 227"/>
                <a:gd name="T18" fmla="*/ 4377914 w 184"/>
                <a:gd name="T19" fmla="*/ 0 h 227"/>
                <a:gd name="T20" fmla="*/ 5359181 w 184"/>
                <a:gd name="T21" fmla="*/ 7 h 227"/>
                <a:gd name="T22" fmla="*/ 5857751 w 184"/>
                <a:gd name="T23" fmla="*/ 13 h 227"/>
                <a:gd name="T24" fmla="*/ 6576767 w 184"/>
                <a:gd name="T25" fmla="*/ 24 h 227"/>
                <a:gd name="T26" fmla="*/ 6576767 w 184"/>
                <a:gd name="T27" fmla="*/ 108 h 227"/>
                <a:gd name="T28" fmla="*/ 7550996 w 184"/>
                <a:gd name="T29" fmla="*/ 178 h 227"/>
                <a:gd name="T30" fmla="*/ 7129331 w 184"/>
                <a:gd name="T31" fmla="*/ 223 h 227"/>
                <a:gd name="T32" fmla="*/ 7550996 w 184"/>
                <a:gd name="T33" fmla="*/ 356 h 227"/>
                <a:gd name="T34" fmla="*/ 7129331 w 184"/>
                <a:gd name="T35" fmla="*/ 398 h 227"/>
                <a:gd name="T36" fmla="*/ 5857751 w 184"/>
                <a:gd name="T37" fmla="*/ 443 h 227"/>
                <a:gd name="T38" fmla="*/ 4929660 w 184"/>
                <a:gd name="T39" fmla="*/ 508 h 227"/>
                <a:gd name="T40" fmla="*/ 5133350 w 184"/>
                <a:gd name="T41" fmla="*/ 537 h 227"/>
                <a:gd name="T42" fmla="*/ 4155745 w 184"/>
                <a:gd name="T43" fmla="*/ 580 h 227"/>
                <a:gd name="T44" fmla="*/ 2426481 w 184"/>
                <a:gd name="T45" fmla="*/ 526 h 227"/>
                <a:gd name="T46" fmla="*/ 1696230 w 184"/>
                <a:gd name="T47" fmla="*/ 526 h 227"/>
                <a:gd name="T48" fmla="*/ 1263840 w 184"/>
                <a:gd name="T49" fmla="*/ 508 h 227"/>
                <a:gd name="T50" fmla="*/ 1696230 w 184"/>
                <a:gd name="T51" fmla="*/ 371 h 2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84"/>
                <a:gd name="T79" fmla="*/ 0 h 227"/>
                <a:gd name="T80" fmla="*/ 184 w 184"/>
                <a:gd name="T81" fmla="*/ 227 h 227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84" h="227">
                  <a:moveTo>
                    <a:pt x="42" y="144"/>
                  </a:moveTo>
                  <a:lnTo>
                    <a:pt x="17" y="144"/>
                  </a:lnTo>
                  <a:lnTo>
                    <a:pt x="6" y="132"/>
                  </a:lnTo>
                  <a:lnTo>
                    <a:pt x="12" y="102"/>
                  </a:lnTo>
                  <a:lnTo>
                    <a:pt x="0" y="96"/>
                  </a:lnTo>
                  <a:lnTo>
                    <a:pt x="6" y="60"/>
                  </a:lnTo>
                  <a:lnTo>
                    <a:pt x="35" y="43"/>
                  </a:lnTo>
                  <a:lnTo>
                    <a:pt x="65" y="26"/>
                  </a:lnTo>
                  <a:lnTo>
                    <a:pt x="89" y="7"/>
                  </a:lnTo>
                  <a:lnTo>
                    <a:pt x="107" y="0"/>
                  </a:lnTo>
                  <a:lnTo>
                    <a:pt x="131" y="7"/>
                  </a:lnTo>
                  <a:lnTo>
                    <a:pt x="143" y="13"/>
                  </a:lnTo>
                  <a:lnTo>
                    <a:pt x="160" y="24"/>
                  </a:lnTo>
                  <a:lnTo>
                    <a:pt x="160" y="43"/>
                  </a:lnTo>
                  <a:lnTo>
                    <a:pt x="184" y="72"/>
                  </a:lnTo>
                  <a:lnTo>
                    <a:pt x="173" y="85"/>
                  </a:lnTo>
                  <a:lnTo>
                    <a:pt x="184" y="138"/>
                  </a:lnTo>
                  <a:lnTo>
                    <a:pt x="173" y="155"/>
                  </a:lnTo>
                  <a:lnTo>
                    <a:pt x="143" y="174"/>
                  </a:lnTo>
                  <a:lnTo>
                    <a:pt x="120" y="197"/>
                  </a:lnTo>
                  <a:lnTo>
                    <a:pt x="125" y="209"/>
                  </a:lnTo>
                  <a:lnTo>
                    <a:pt x="101" y="227"/>
                  </a:lnTo>
                  <a:lnTo>
                    <a:pt x="59" y="204"/>
                  </a:lnTo>
                  <a:lnTo>
                    <a:pt x="42" y="204"/>
                  </a:lnTo>
                  <a:lnTo>
                    <a:pt x="30" y="197"/>
                  </a:lnTo>
                  <a:lnTo>
                    <a:pt x="42" y="144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7" name="Freeform 137"/>
            <p:cNvSpPr>
              <a:spLocks/>
            </p:cNvSpPr>
            <p:nvPr/>
          </p:nvSpPr>
          <p:spPr bwMode="auto">
            <a:xfrm>
              <a:off x="3672" y="2572"/>
              <a:ext cx="310" cy="273"/>
            </a:xfrm>
            <a:custGeom>
              <a:avLst/>
              <a:gdLst>
                <a:gd name="T0" fmla="*/ 6596364 w 250"/>
                <a:gd name="T1" fmla="*/ 19 h 269"/>
                <a:gd name="T2" fmla="*/ 6596364 w 250"/>
                <a:gd name="T3" fmla="*/ 0 h 269"/>
                <a:gd name="T4" fmla="*/ 10525281 w 250"/>
                <a:gd name="T5" fmla="*/ 25 h 269"/>
                <a:gd name="T6" fmla="*/ 12616050 w 250"/>
                <a:gd name="T7" fmla="*/ 25 h 269"/>
                <a:gd name="T8" fmla="*/ 13857507 w 250"/>
                <a:gd name="T9" fmla="*/ 12 h 269"/>
                <a:gd name="T10" fmla="*/ 13857507 w 250"/>
                <a:gd name="T11" fmla="*/ 2 h 269"/>
                <a:gd name="T12" fmla="*/ 14463798 w 250"/>
                <a:gd name="T13" fmla="*/ 0 h 269"/>
                <a:gd name="T14" fmla="*/ 15259064 w 250"/>
                <a:gd name="T15" fmla="*/ 6 h 269"/>
                <a:gd name="T16" fmla="*/ 17934101 w 250"/>
                <a:gd name="T17" fmla="*/ 12 h 269"/>
                <a:gd name="T18" fmla="*/ 17934101 w 250"/>
                <a:gd name="T19" fmla="*/ 19 h 269"/>
                <a:gd name="T20" fmla="*/ 17183306 w 250"/>
                <a:gd name="T21" fmla="*/ 103 h 269"/>
                <a:gd name="T22" fmla="*/ 16429763 w 250"/>
                <a:gd name="T23" fmla="*/ 151 h 269"/>
                <a:gd name="T24" fmla="*/ 16429763 w 250"/>
                <a:gd name="T25" fmla="*/ 232 h 269"/>
                <a:gd name="T26" fmla="*/ 17183306 w 250"/>
                <a:gd name="T27" fmla="*/ 298 h 269"/>
                <a:gd name="T28" fmla="*/ 17934101 w 250"/>
                <a:gd name="T29" fmla="*/ 371 h 269"/>
                <a:gd name="T30" fmla="*/ 19338058 w 250"/>
                <a:gd name="T31" fmla="*/ 412 h 269"/>
                <a:gd name="T32" fmla="*/ 20372902 w 250"/>
                <a:gd name="T33" fmla="*/ 447 h 269"/>
                <a:gd name="T34" fmla="*/ 22507611 w 250"/>
                <a:gd name="T35" fmla="*/ 489 h 269"/>
                <a:gd name="T36" fmla="*/ 24405426 w 250"/>
                <a:gd name="T37" fmla="*/ 533 h 269"/>
                <a:gd name="T38" fmla="*/ 25744388 w 250"/>
                <a:gd name="T39" fmla="*/ 557 h 269"/>
                <a:gd name="T40" fmla="*/ 27683370 w 250"/>
                <a:gd name="T41" fmla="*/ 569 h 269"/>
                <a:gd name="T42" fmla="*/ 27683370 w 250"/>
                <a:gd name="T43" fmla="*/ 592 h 269"/>
                <a:gd name="T44" fmla="*/ 25171091 w 250"/>
                <a:gd name="T45" fmla="*/ 595 h 269"/>
                <a:gd name="T46" fmla="*/ 23683211 w 250"/>
                <a:gd name="T47" fmla="*/ 557 h 269"/>
                <a:gd name="T48" fmla="*/ 20372902 w 250"/>
                <a:gd name="T49" fmla="*/ 521 h 269"/>
                <a:gd name="T50" fmla="*/ 17183306 w 250"/>
                <a:gd name="T51" fmla="*/ 533 h 269"/>
                <a:gd name="T52" fmla="*/ 14463798 w 250"/>
                <a:gd name="T53" fmla="*/ 569 h 269"/>
                <a:gd name="T54" fmla="*/ 11971458 w 250"/>
                <a:gd name="T55" fmla="*/ 578 h 269"/>
                <a:gd name="T56" fmla="*/ 7918819 w 250"/>
                <a:gd name="T57" fmla="*/ 557 h 269"/>
                <a:gd name="T58" fmla="*/ 2681362 w 250"/>
                <a:gd name="T59" fmla="*/ 477 h 269"/>
                <a:gd name="T60" fmla="*/ 0 w 250"/>
                <a:gd name="T61" fmla="*/ 447 h 269"/>
                <a:gd name="T62" fmla="*/ 2681362 w 250"/>
                <a:gd name="T63" fmla="*/ 412 h 269"/>
                <a:gd name="T64" fmla="*/ 2162389 w 250"/>
                <a:gd name="T65" fmla="*/ 386 h 269"/>
                <a:gd name="T66" fmla="*/ 4605846 w 250"/>
                <a:gd name="T67" fmla="*/ 329 h 269"/>
                <a:gd name="T68" fmla="*/ 7918819 w 250"/>
                <a:gd name="T69" fmla="*/ 286 h 269"/>
                <a:gd name="T70" fmla="*/ 9242618 w 250"/>
                <a:gd name="T71" fmla="*/ 252 h 269"/>
                <a:gd name="T72" fmla="*/ 7918819 w 250"/>
                <a:gd name="T73" fmla="*/ 129 h 269"/>
                <a:gd name="T74" fmla="*/ 9242618 w 250"/>
                <a:gd name="T75" fmla="*/ 103 h 269"/>
                <a:gd name="T76" fmla="*/ 6596364 w 250"/>
                <a:gd name="T77" fmla="*/ 19 h 269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50"/>
                <a:gd name="T118" fmla="*/ 0 h 269"/>
                <a:gd name="T119" fmla="*/ 250 w 250"/>
                <a:gd name="T120" fmla="*/ 269 h 269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50" h="269">
                  <a:moveTo>
                    <a:pt x="59" y="19"/>
                  </a:moveTo>
                  <a:lnTo>
                    <a:pt x="59" y="0"/>
                  </a:lnTo>
                  <a:lnTo>
                    <a:pt x="95" y="25"/>
                  </a:lnTo>
                  <a:lnTo>
                    <a:pt x="114" y="25"/>
                  </a:lnTo>
                  <a:lnTo>
                    <a:pt x="125" y="12"/>
                  </a:lnTo>
                  <a:lnTo>
                    <a:pt x="125" y="2"/>
                  </a:lnTo>
                  <a:lnTo>
                    <a:pt x="131" y="0"/>
                  </a:lnTo>
                  <a:lnTo>
                    <a:pt x="137" y="6"/>
                  </a:lnTo>
                  <a:lnTo>
                    <a:pt x="161" y="12"/>
                  </a:lnTo>
                  <a:lnTo>
                    <a:pt x="161" y="19"/>
                  </a:lnTo>
                  <a:lnTo>
                    <a:pt x="155" y="48"/>
                  </a:lnTo>
                  <a:lnTo>
                    <a:pt x="148" y="72"/>
                  </a:lnTo>
                  <a:lnTo>
                    <a:pt x="148" y="103"/>
                  </a:lnTo>
                  <a:lnTo>
                    <a:pt x="155" y="137"/>
                  </a:lnTo>
                  <a:lnTo>
                    <a:pt x="161" y="167"/>
                  </a:lnTo>
                  <a:lnTo>
                    <a:pt x="174" y="186"/>
                  </a:lnTo>
                  <a:lnTo>
                    <a:pt x="184" y="203"/>
                  </a:lnTo>
                  <a:lnTo>
                    <a:pt x="203" y="221"/>
                  </a:lnTo>
                  <a:lnTo>
                    <a:pt x="220" y="239"/>
                  </a:lnTo>
                  <a:lnTo>
                    <a:pt x="232" y="251"/>
                  </a:lnTo>
                  <a:lnTo>
                    <a:pt x="250" y="257"/>
                  </a:lnTo>
                  <a:lnTo>
                    <a:pt x="250" y="268"/>
                  </a:lnTo>
                  <a:lnTo>
                    <a:pt x="227" y="269"/>
                  </a:lnTo>
                  <a:lnTo>
                    <a:pt x="214" y="251"/>
                  </a:lnTo>
                  <a:lnTo>
                    <a:pt x="184" y="234"/>
                  </a:lnTo>
                  <a:lnTo>
                    <a:pt x="155" y="239"/>
                  </a:lnTo>
                  <a:lnTo>
                    <a:pt x="131" y="257"/>
                  </a:lnTo>
                  <a:lnTo>
                    <a:pt x="108" y="262"/>
                  </a:lnTo>
                  <a:lnTo>
                    <a:pt x="72" y="251"/>
                  </a:lnTo>
                  <a:lnTo>
                    <a:pt x="24" y="216"/>
                  </a:lnTo>
                  <a:lnTo>
                    <a:pt x="0" y="203"/>
                  </a:lnTo>
                  <a:lnTo>
                    <a:pt x="24" y="186"/>
                  </a:lnTo>
                  <a:lnTo>
                    <a:pt x="19" y="173"/>
                  </a:lnTo>
                  <a:lnTo>
                    <a:pt x="42" y="150"/>
                  </a:lnTo>
                  <a:lnTo>
                    <a:pt x="72" y="131"/>
                  </a:lnTo>
                  <a:lnTo>
                    <a:pt x="83" y="114"/>
                  </a:lnTo>
                  <a:lnTo>
                    <a:pt x="72" y="61"/>
                  </a:lnTo>
                  <a:lnTo>
                    <a:pt x="83" y="48"/>
                  </a:lnTo>
                  <a:lnTo>
                    <a:pt x="59" y="19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8" name="Freeform 138"/>
            <p:cNvSpPr>
              <a:spLocks/>
            </p:cNvSpPr>
            <p:nvPr/>
          </p:nvSpPr>
          <p:spPr bwMode="auto">
            <a:xfrm>
              <a:off x="3458" y="2778"/>
              <a:ext cx="274" cy="109"/>
            </a:xfrm>
            <a:custGeom>
              <a:avLst/>
              <a:gdLst>
                <a:gd name="T0" fmla="*/ 12298139 w 222"/>
                <a:gd name="T1" fmla="*/ 274 h 107"/>
                <a:gd name="T2" fmla="*/ 12893296 w 222"/>
                <a:gd name="T3" fmla="*/ 274 h 107"/>
                <a:gd name="T4" fmla="*/ 13934733 w 222"/>
                <a:gd name="T5" fmla="*/ 244 h 107"/>
                <a:gd name="T6" fmla="*/ 14908050 w 222"/>
                <a:gd name="T7" fmla="*/ 274 h 107"/>
                <a:gd name="T8" fmla="*/ 17570776 w 222"/>
                <a:gd name="T9" fmla="*/ 213 h 107"/>
                <a:gd name="T10" fmla="*/ 19141334 w 222"/>
                <a:gd name="T11" fmla="*/ 168 h 107"/>
                <a:gd name="T12" fmla="*/ 19033886 w 222"/>
                <a:gd name="T13" fmla="*/ 135 h 107"/>
                <a:gd name="T14" fmla="*/ 16962091 w 222"/>
                <a:gd name="T15" fmla="*/ 99 h 107"/>
                <a:gd name="T16" fmla="*/ 16962091 w 222"/>
                <a:gd name="T17" fmla="*/ 13 h 107"/>
                <a:gd name="T18" fmla="*/ 14908050 w 222"/>
                <a:gd name="T19" fmla="*/ 0 h 107"/>
                <a:gd name="T20" fmla="*/ 10803007 w 222"/>
                <a:gd name="T21" fmla="*/ 0 h 107"/>
                <a:gd name="T22" fmla="*/ 8399285 w 222"/>
                <a:gd name="T23" fmla="*/ 6 h 107"/>
                <a:gd name="T24" fmla="*/ 5656694 w 222"/>
                <a:gd name="T25" fmla="*/ 13 h 107"/>
                <a:gd name="T26" fmla="*/ 4542441 w 222"/>
                <a:gd name="T27" fmla="*/ 111 h 107"/>
                <a:gd name="T28" fmla="*/ 3091241 w 222"/>
                <a:gd name="T29" fmla="*/ 150 h 107"/>
                <a:gd name="T30" fmla="*/ 0 w 222"/>
                <a:gd name="T31" fmla="*/ 186 h 107"/>
                <a:gd name="T32" fmla="*/ 0 w 222"/>
                <a:gd name="T33" fmla="*/ 256 h 107"/>
                <a:gd name="T34" fmla="*/ 3631957 w 222"/>
                <a:gd name="T35" fmla="*/ 286 h 107"/>
                <a:gd name="T36" fmla="*/ 4542441 w 222"/>
                <a:gd name="T37" fmla="*/ 274 h 107"/>
                <a:gd name="T38" fmla="*/ 5656694 w 222"/>
                <a:gd name="T39" fmla="*/ 256 h 107"/>
                <a:gd name="T40" fmla="*/ 8399285 w 222"/>
                <a:gd name="T41" fmla="*/ 274 h 107"/>
                <a:gd name="T42" fmla="*/ 10366681 w 222"/>
                <a:gd name="T43" fmla="*/ 256 h 107"/>
                <a:gd name="T44" fmla="*/ 11310761 w 222"/>
                <a:gd name="T45" fmla="*/ 286 h 107"/>
                <a:gd name="T46" fmla="*/ 11804613 w 222"/>
                <a:gd name="T47" fmla="*/ 274 h 10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22"/>
                <a:gd name="T73" fmla="*/ 0 h 107"/>
                <a:gd name="T74" fmla="*/ 222 w 222"/>
                <a:gd name="T75" fmla="*/ 107 h 10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22" h="107">
                  <a:moveTo>
                    <a:pt x="143" y="102"/>
                  </a:moveTo>
                  <a:lnTo>
                    <a:pt x="150" y="102"/>
                  </a:lnTo>
                  <a:lnTo>
                    <a:pt x="161" y="90"/>
                  </a:lnTo>
                  <a:lnTo>
                    <a:pt x="173" y="102"/>
                  </a:lnTo>
                  <a:lnTo>
                    <a:pt x="203" y="78"/>
                  </a:lnTo>
                  <a:lnTo>
                    <a:pt x="222" y="65"/>
                  </a:lnTo>
                  <a:lnTo>
                    <a:pt x="220" y="54"/>
                  </a:lnTo>
                  <a:lnTo>
                    <a:pt x="197" y="36"/>
                  </a:lnTo>
                  <a:lnTo>
                    <a:pt x="197" y="13"/>
                  </a:lnTo>
                  <a:lnTo>
                    <a:pt x="173" y="0"/>
                  </a:lnTo>
                  <a:lnTo>
                    <a:pt x="125" y="0"/>
                  </a:lnTo>
                  <a:lnTo>
                    <a:pt x="97" y="6"/>
                  </a:lnTo>
                  <a:lnTo>
                    <a:pt x="66" y="13"/>
                  </a:lnTo>
                  <a:lnTo>
                    <a:pt x="53" y="42"/>
                  </a:lnTo>
                  <a:lnTo>
                    <a:pt x="36" y="59"/>
                  </a:lnTo>
                  <a:lnTo>
                    <a:pt x="0" y="71"/>
                  </a:lnTo>
                  <a:lnTo>
                    <a:pt x="0" y="95"/>
                  </a:lnTo>
                  <a:lnTo>
                    <a:pt x="42" y="107"/>
                  </a:lnTo>
                  <a:lnTo>
                    <a:pt x="53" y="102"/>
                  </a:lnTo>
                  <a:lnTo>
                    <a:pt x="66" y="95"/>
                  </a:lnTo>
                  <a:lnTo>
                    <a:pt x="97" y="102"/>
                  </a:lnTo>
                  <a:lnTo>
                    <a:pt x="120" y="95"/>
                  </a:lnTo>
                  <a:lnTo>
                    <a:pt x="131" y="107"/>
                  </a:lnTo>
                  <a:lnTo>
                    <a:pt x="137" y="102"/>
                  </a:lnTo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09" name="Freeform 139"/>
            <p:cNvSpPr>
              <a:spLocks/>
            </p:cNvSpPr>
            <p:nvPr/>
          </p:nvSpPr>
          <p:spPr bwMode="auto">
            <a:xfrm>
              <a:off x="3524" y="2845"/>
              <a:ext cx="237" cy="90"/>
            </a:xfrm>
            <a:custGeom>
              <a:avLst/>
              <a:gdLst>
                <a:gd name="T0" fmla="*/ 4787538 w 192"/>
                <a:gd name="T1" fmla="*/ 132 h 89"/>
                <a:gd name="T2" fmla="*/ 2701425 w 192"/>
                <a:gd name="T3" fmla="*/ 127 h 89"/>
                <a:gd name="T4" fmla="*/ 1163602 w 192"/>
                <a:gd name="T5" fmla="*/ 115 h 89"/>
                <a:gd name="T6" fmla="*/ 0 w 192"/>
                <a:gd name="T7" fmla="*/ 37 h 89"/>
                <a:gd name="T8" fmla="*/ 1163602 w 192"/>
                <a:gd name="T9" fmla="*/ 30 h 89"/>
                <a:gd name="T10" fmla="*/ 3835502 w 192"/>
                <a:gd name="T11" fmla="*/ 37 h 89"/>
                <a:gd name="T12" fmla="*/ 5844085 w 192"/>
                <a:gd name="T13" fmla="*/ 30 h 89"/>
                <a:gd name="T14" fmla="*/ 6720150 w 192"/>
                <a:gd name="T15" fmla="*/ 42 h 89"/>
                <a:gd name="T16" fmla="*/ 7294677 w 192"/>
                <a:gd name="T17" fmla="*/ 37 h 89"/>
                <a:gd name="T18" fmla="*/ 8439688 w 192"/>
                <a:gd name="T19" fmla="*/ 37 h 89"/>
                <a:gd name="T20" fmla="*/ 9294685 w 192"/>
                <a:gd name="T21" fmla="*/ 25 h 89"/>
                <a:gd name="T22" fmla="*/ 10417742 w 192"/>
                <a:gd name="T23" fmla="*/ 37 h 89"/>
                <a:gd name="T24" fmla="*/ 12957897 w 192"/>
                <a:gd name="T25" fmla="*/ 13 h 89"/>
                <a:gd name="T26" fmla="*/ 14676680 w 192"/>
                <a:gd name="T27" fmla="*/ 0 h 89"/>
                <a:gd name="T28" fmla="*/ 15000007 w 192"/>
                <a:gd name="T29" fmla="*/ 13 h 89"/>
                <a:gd name="T30" fmla="*/ 16695879 w 192"/>
                <a:gd name="T31" fmla="*/ 25 h 89"/>
                <a:gd name="T32" fmla="*/ 16695879 w 192"/>
                <a:gd name="T33" fmla="*/ 102 h 89"/>
                <a:gd name="T34" fmla="*/ 15000007 w 192"/>
                <a:gd name="T35" fmla="*/ 115 h 89"/>
                <a:gd name="T36" fmla="*/ 15000007 w 192"/>
                <a:gd name="T37" fmla="*/ 127 h 89"/>
                <a:gd name="T38" fmla="*/ 14497162 w 192"/>
                <a:gd name="T39" fmla="*/ 127 h 89"/>
                <a:gd name="T40" fmla="*/ 13567638 w 192"/>
                <a:gd name="T41" fmla="*/ 132 h 89"/>
                <a:gd name="T42" fmla="*/ 10417742 w 192"/>
                <a:gd name="T43" fmla="*/ 127 h 89"/>
                <a:gd name="T44" fmla="*/ 9902457 w 192"/>
                <a:gd name="T45" fmla="*/ 142 h 89"/>
                <a:gd name="T46" fmla="*/ 7841767 w 192"/>
                <a:gd name="T47" fmla="*/ 152 h 89"/>
                <a:gd name="T48" fmla="*/ 4787538 w 192"/>
                <a:gd name="T49" fmla="*/ 132 h 89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92"/>
                <a:gd name="T76" fmla="*/ 0 h 89"/>
                <a:gd name="T77" fmla="*/ 192 w 192"/>
                <a:gd name="T78" fmla="*/ 89 h 89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92" h="89">
                  <a:moveTo>
                    <a:pt x="55" y="78"/>
                  </a:moveTo>
                  <a:lnTo>
                    <a:pt x="31" y="73"/>
                  </a:lnTo>
                  <a:lnTo>
                    <a:pt x="13" y="61"/>
                  </a:lnTo>
                  <a:lnTo>
                    <a:pt x="0" y="37"/>
                  </a:lnTo>
                  <a:lnTo>
                    <a:pt x="13" y="30"/>
                  </a:lnTo>
                  <a:lnTo>
                    <a:pt x="44" y="37"/>
                  </a:lnTo>
                  <a:lnTo>
                    <a:pt x="67" y="30"/>
                  </a:lnTo>
                  <a:lnTo>
                    <a:pt x="78" y="42"/>
                  </a:lnTo>
                  <a:lnTo>
                    <a:pt x="84" y="37"/>
                  </a:lnTo>
                  <a:lnTo>
                    <a:pt x="97" y="37"/>
                  </a:lnTo>
                  <a:lnTo>
                    <a:pt x="108" y="25"/>
                  </a:lnTo>
                  <a:lnTo>
                    <a:pt x="120" y="37"/>
                  </a:lnTo>
                  <a:lnTo>
                    <a:pt x="150" y="13"/>
                  </a:lnTo>
                  <a:lnTo>
                    <a:pt x="169" y="0"/>
                  </a:lnTo>
                  <a:lnTo>
                    <a:pt x="173" y="13"/>
                  </a:lnTo>
                  <a:lnTo>
                    <a:pt x="192" y="25"/>
                  </a:lnTo>
                  <a:lnTo>
                    <a:pt x="192" y="48"/>
                  </a:lnTo>
                  <a:lnTo>
                    <a:pt x="173" y="61"/>
                  </a:lnTo>
                  <a:lnTo>
                    <a:pt x="173" y="73"/>
                  </a:lnTo>
                  <a:lnTo>
                    <a:pt x="167" y="73"/>
                  </a:lnTo>
                  <a:lnTo>
                    <a:pt x="156" y="78"/>
                  </a:lnTo>
                  <a:lnTo>
                    <a:pt x="120" y="73"/>
                  </a:lnTo>
                  <a:lnTo>
                    <a:pt x="114" y="84"/>
                  </a:lnTo>
                  <a:lnTo>
                    <a:pt x="91" y="89"/>
                  </a:lnTo>
                  <a:lnTo>
                    <a:pt x="55" y="78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10" name="Freeform 140"/>
            <p:cNvSpPr>
              <a:spLocks/>
            </p:cNvSpPr>
            <p:nvPr/>
          </p:nvSpPr>
          <p:spPr bwMode="auto">
            <a:xfrm>
              <a:off x="3702" y="2792"/>
              <a:ext cx="251" cy="285"/>
            </a:xfrm>
            <a:custGeom>
              <a:avLst/>
              <a:gdLst>
                <a:gd name="T0" fmla="*/ 5537778 w 203"/>
                <a:gd name="T1" fmla="*/ 274 h 280"/>
                <a:gd name="T2" fmla="*/ 4478760 w 203"/>
                <a:gd name="T3" fmla="*/ 258 h 280"/>
                <a:gd name="T4" fmla="*/ 4478760 w 203"/>
                <a:gd name="T5" fmla="*/ 195 h 280"/>
                <a:gd name="T6" fmla="*/ 2798707 w 203"/>
                <a:gd name="T7" fmla="*/ 159 h 280"/>
                <a:gd name="T8" fmla="*/ 2365480 w 203"/>
                <a:gd name="T9" fmla="*/ 127 h 280"/>
                <a:gd name="T10" fmla="*/ 2180200 w 203"/>
                <a:gd name="T11" fmla="*/ 105 h 280"/>
                <a:gd name="T12" fmla="*/ 0 w 203"/>
                <a:gd name="T13" fmla="*/ 23 h 280"/>
                <a:gd name="T14" fmla="*/ 0 w 203"/>
                <a:gd name="T15" fmla="*/ 0 h 280"/>
                <a:gd name="T16" fmla="*/ 2798707 w 203"/>
                <a:gd name="T17" fmla="*/ 23 h 280"/>
                <a:gd name="T18" fmla="*/ 4478760 w 203"/>
                <a:gd name="T19" fmla="*/ 93 h 280"/>
                <a:gd name="T20" fmla="*/ 8083530 w 203"/>
                <a:gd name="T21" fmla="*/ 115 h 280"/>
                <a:gd name="T22" fmla="*/ 10151997 w 203"/>
                <a:gd name="T23" fmla="*/ 105 h 280"/>
                <a:gd name="T24" fmla="*/ 12368322 w 203"/>
                <a:gd name="T25" fmla="*/ 23 h 280"/>
                <a:gd name="T26" fmla="*/ 15280376 w 203"/>
                <a:gd name="T27" fmla="*/ 18 h 280"/>
                <a:gd name="T28" fmla="*/ 18087628 w 203"/>
                <a:gd name="T29" fmla="*/ 93 h 280"/>
                <a:gd name="T30" fmla="*/ 19260438 w 203"/>
                <a:gd name="T31" fmla="*/ 129 h 280"/>
                <a:gd name="T32" fmla="*/ 18087628 w 203"/>
                <a:gd name="T33" fmla="*/ 159 h 280"/>
                <a:gd name="T34" fmla="*/ 16524693 w 203"/>
                <a:gd name="T35" fmla="*/ 214 h 280"/>
                <a:gd name="T36" fmla="*/ 15280376 w 203"/>
                <a:gd name="T37" fmla="*/ 289 h 280"/>
                <a:gd name="T38" fmla="*/ 14628647 w 203"/>
                <a:gd name="T39" fmla="*/ 321 h 280"/>
                <a:gd name="T40" fmla="*/ 14245069 w 203"/>
                <a:gd name="T41" fmla="*/ 374 h 280"/>
                <a:gd name="T42" fmla="*/ 14245069 w 203"/>
                <a:gd name="T43" fmla="*/ 412 h 280"/>
                <a:gd name="T44" fmla="*/ 14628647 w 203"/>
                <a:gd name="T45" fmla="*/ 442 h 280"/>
                <a:gd name="T46" fmla="*/ 14628647 w 203"/>
                <a:gd name="T47" fmla="*/ 474 h 280"/>
                <a:gd name="T48" fmla="*/ 13616793 w 203"/>
                <a:gd name="T49" fmla="*/ 526 h 280"/>
                <a:gd name="T50" fmla="*/ 13616793 w 203"/>
                <a:gd name="T51" fmla="*/ 540 h 280"/>
                <a:gd name="T52" fmla="*/ 10817820 w 203"/>
                <a:gd name="T53" fmla="*/ 601 h 280"/>
                <a:gd name="T54" fmla="*/ 9632519 w 203"/>
                <a:gd name="T55" fmla="*/ 651 h 280"/>
                <a:gd name="T56" fmla="*/ 8987739 w 203"/>
                <a:gd name="T57" fmla="*/ 696 h 280"/>
                <a:gd name="T58" fmla="*/ 8083530 w 203"/>
                <a:gd name="T59" fmla="*/ 724 h 280"/>
                <a:gd name="T60" fmla="*/ 6770699 w 203"/>
                <a:gd name="T61" fmla="*/ 724 h 280"/>
                <a:gd name="T62" fmla="*/ 5160985 w 203"/>
                <a:gd name="T63" fmla="*/ 681 h 280"/>
                <a:gd name="T64" fmla="*/ 6160495 w 203"/>
                <a:gd name="T65" fmla="*/ 681 h 280"/>
                <a:gd name="T66" fmla="*/ 5537778 w 203"/>
                <a:gd name="T67" fmla="*/ 634 h 280"/>
                <a:gd name="T68" fmla="*/ 5160985 w 203"/>
                <a:gd name="T69" fmla="*/ 601 h 280"/>
                <a:gd name="T70" fmla="*/ 5537778 w 203"/>
                <a:gd name="T71" fmla="*/ 583 h 280"/>
                <a:gd name="T72" fmla="*/ 5160985 w 203"/>
                <a:gd name="T73" fmla="*/ 540 h 280"/>
                <a:gd name="T74" fmla="*/ 3986570 w 203"/>
                <a:gd name="T75" fmla="*/ 509 h 280"/>
                <a:gd name="T76" fmla="*/ 3333127 w 203"/>
                <a:gd name="T77" fmla="*/ 509 h 280"/>
                <a:gd name="T78" fmla="*/ 5160985 w 203"/>
                <a:gd name="T79" fmla="*/ 474 h 280"/>
                <a:gd name="T80" fmla="*/ 5537778 w 203"/>
                <a:gd name="T81" fmla="*/ 398 h 280"/>
                <a:gd name="T82" fmla="*/ 6770699 w 203"/>
                <a:gd name="T83" fmla="*/ 388 h 280"/>
                <a:gd name="T84" fmla="*/ 7383100 w 203"/>
                <a:gd name="T85" fmla="*/ 337 h 280"/>
                <a:gd name="T86" fmla="*/ 8466242 w 203"/>
                <a:gd name="T87" fmla="*/ 246 h 280"/>
                <a:gd name="T88" fmla="*/ 5537778 w 203"/>
                <a:gd name="T89" fmla="*/ 274 h 28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3"/>
                <a:gd name="T136" fmla="*/ 0 h 280"/>
                <a:gd name="T137" fmla="*/ 203 w 203"/>
                <a:gd name="T138" fmla="*/ 280 h 280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3" h="280">
                  <a:moveTo>
                    <a:pt x="59" y="107"/>
                  </a:moveTo>
                  <a:lnTo>
                    <a:pt x="48" y="100"/>
                  </a:lnTo>
                  <a:lnTo>
                    <a:pt x="48" y="77"/>
                  </a:lnTo>
                  <a:lnTo>
                    <a:pt x="29" y="65"/>
                  </a:lnTo>
                  <a:lnTo>
                    <a:pt x="25" y="52"/>
                  </a:lnTo>
                  <a:lnTo>
                    <a:pt x="23" y="41"/>
                  </a:lnTo>
                  <a:lnTo>
                    <a:pt x="0" y="23"/>
                  </a:lnTo>
                  <a:lnTo>
                    <a:pt x="0" y="0"/>
                  </a:lnTo>
                  <a:lnTo>
                    <a:pt x="29" y="23"/>
                  </a:lnTo>
                  <a:lnTo>
                    <a:pt x="48" y="35"/>
                  </a:lnTo>
                  <a:lnTo>
                    <a:pt x="84" y="46"/>
                  </a:lnTo>
                  <a:lnTo>
                    <a:pt x="107" y="41"/>
                  </a:lnTo>
                  <a:lnTo>
                    <a:pt x="131" y="23"/>
                  </a:lnTo>
                  <a:lnTo>
                    <a:pt x="160" y="18"/>
                  </a:lnTo>
                  <a:lnTo>
                    <a:pt x="190" y="35"/>
                  </a:lnTo>
                  <a:lnTo>
                    <a:pt x="203" y="53"/>
                  </a:lnTo>
                  <a:lnTo>
                    <a:pt x="190" y="65"/>
                  </a:lnTo>
                  <a:lnTo>
                    <a:pt x="173" y="82"/>
                  </a:lnTo>
                  <a:lnTo>
                    <a:pt x="160" y="113"/>
                  </a:lnTo>
                  <a:lnTo>
                    <a:pt x="154" y="125"/>
                  </a:lnTo>
                  <a:lnTo>
                    <a:pt x="150" y="143"/>
                  </a:lnTo>
                  <a:lnTo>
                    <a:pt x="150" y="160"/>
                  </a:lnTo>
                  <a:lnTo>
                    <a:pt x="154" y="172"/>
                  </a:lnTo>
                  <a:lnTo>
                    <a:pt x="154" y="184"/>
                  </a:lnTo>
                  <a:lnTo>
                    <a:pt x="143" y="202"/>
                  </a:lnTo>
                  <a:lnTo>
                    <a:pt x="143" y="208"/>
                  </a:lnTo>
                  <a:lnTo>
                    <a:pt x="114" y="232"/>
                  </a:lnTo>
                  <a:lnTo>
                    <a:pt x="101" y="251"/>
                  </a:lnTo>
                  <a:lnTo>
                    <a:pt x="95" y="268"/>
                  </a:lnTo>
                  <a:lnTo>
                    <a:pt x="84" y="280"/>
                  </a:lnTo>
                  <a:lnTo>
                    <a:pt x="71" y="280"/>
                  </a:lnTo>
                  <a:lnTo>
                    <a:pt x="54" y="261"/>
                  </a:lnTo>
                  <a:lnTo>
                    <a:pt x="65" y="261"/>
                  </a:lnTo>
                  <a:lnTo>
                    <a:pt x="59" y="244"/>
                  </a:lnTo>
                  <a:lnTo>
                    <a:pt x="54" y="232"/>
                  </a:lnTo>
                  <a:lnTo>
                    <a:pt x="59" y="225"/>
                  </a:lnTo>
                  <a:lnTo>
                    <a:pt x="54" y="208"/>
                  </a:lnTo>
                  <a:lnTo>
                    <a:pt x="42" y="196"/>
                  </a:lnTo>
                  <a:lnTo>
                    <a:pt x="35" y="196"/>
                  </a:lnTo>
                  <a:lnTo>
                    <a:pt x="54" y="184"/>
                  </a:lnTo>
                  <a:lnTo>
                    <a:pt x="59" y="154"/>
                  </a:lnTo>
                  <a:lnTo>
                    <a:pt x="71" y="149"/>
                  </a:lnTo>
                  <a:lnTo>
                    <a:pt x="78" y="130"/>
                  </a:lnTo>
                  <a:lnTo>
                    <a:pt x="90" y="95"/>
                  </a:lnTo>
                  <a:lnTo>
                    <a:pt x="59" y="107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11" name="Freeform 141"/>
            <p:cNvSpPr>
              <a:spLocks/>
            </p:cNvSpPr>
            <p:nvPr/>
          </p:nvSpPr>
          <p:spPr bwMode="auto">
            <a:xfrm>
              <a:off x="3347" y="2597"/>
              <a:ext cx="325" cy="254"/>
            </a:xfrm>
            <a:custGeom>
              <a:avLst/>
              <a:gdLst>
                <a:gd name="T0" fmla="*/ 29613043 w 262"/>
                <a:gd name="T1" fmla="*/ 522 h 249"/>
                <a:gd name="T2" fmla="*/ 24165312 w 262"/>
                <a:gd name="T3" fmla="*/ 522 h 249"/>
                <a:gd name="T4" fmla="*/ 17456099 w 262"/>
                <a:gd name="T5" fmla="*/ 558 h 249"/>
                <a:gd name="T6" fmla="*/ 16024264 w 262"/>
                <a:gd name="T7" fmla="*/ 642 h 249"/>
                <a:gd name="T8" fmla="*/ 14072310 w 262"/>
                <a:gd name="T9" fmla="*/ 694 h 249"/>
                <a:gd name="T10" fmla="*/ 10026213 w 262"/>
                <a:gd name="T11" fmla="*/ 727 h 249"/>
                <a:gd name="T12" fmla="*/ 6739661 w 262"/>
                <a:gd name="T13" fmla="*/ 694 h 249"/>
                <a:gd name="T14" fmla="*/ 7525615 w 262"/>
                <a:gd name="T15" fmla="*/ 663 h 249"/>
                <a:gd name="T16" fmla="*/ 7525615 w 262"/>
                <a:gd name="T17" fmla="*/ 522 h 249"/>
                <a:gd name="T18" fmla="*/ 6066807 w 262"/>
                <a:gd name="T19" fmla="*/ 480 h 249"/>
                <a:gd name="T20" fmla="*/ 1943920 w 262"/>
                <a:gd name="T21" fmla="*/ 506 h 249"/>
                <a:gd name="T22" fmla="*/ 0 w 262"/>
                <a:gd name="T23" fmla="*/ 466 h 249"/>
                <a:gd name="T24" fmla="*/ 1943920 w 262"/>
                <a:gd name="T25" fmla="*/ 414 h 249"/>
                <a:gd name="T26" fmla="*/ 2715764 w 262"/>
                <a:gd name="T27" fmla="*/ 323 h 249"/>
                <a:gd name="T28" fmla="*/ 4788795 w 262"/>
                <a:gd name="T29" fmla="*/ 243 h 249"/>
                <a:gd name="T30" fmla="*/ 7964255 w 262"/>
                <a:gd name="T31" fmla="*/ 188 h 249"/>
                <a:gd name="T32" fmla="*/ 10026213 w 262"/>
                <a:gd name="T33" fmla="*/ 93 h 249"/>
                <a:gd name="T34" fmla="*/ 11990048 w 262"/>
                <a:gd name="T35" fmla="*/ 0 h 249"/>
                <a:gd name="T36" fmla="*/ 14072310 w 262"/>
                <a:gd name="T37" fmla="*/ 93 h 249"/>
                <a:gd name="T38" fmla="*/ 14873149 w 262"/>
                <a:gd name="T39" fmla="*/ 117 h 249"/>
                <a:gd name="T40" fmla="*/ 17456099 w 262"/>
                <a:gd name="T41" fmla="*/ 117 h 249"/>
                <a:gd name="T42" fmla="*/ 19636833 w 262"/>
                <a:gd name="T43" fmla="*/ 146 h 249"/>
                <a:gd name="T44" fmla="*/ 18885553 w 262"/>
                <a:gd name="T45" fmla="*/ 243 h 249"/>
                <a:gd name="T46" fmla="*/ 20160167 w 262"/>
                <a:gd name="T47" fmla="*/ 273 h 249"/>
                <a:gd name="T48" fmla="*/ 22998250 w 262"/>
                <a:gd name="T49" fmla="*/ 273 h 249"/>
                <a:gd name="T50" fmla="*/ 21642102 w 262"/>
                <a:gd name="T51" fmla="*/ 430 h 249"/>
                <a:gd name="T52" fmla="*/ 22998250 w 262"/>
                <a:gd name="T53" fmla="*/ 449 h 249"/>
                <a:gd name="T54" fmla="*/ 24957101 w 262"/>
                <a:gd name="T55" fmla="*/ 449 h 249"/>
                <a:gd name="T56" fmla="*/ 29613043 w 262"/>
                <a:gd name="T57" fmla="*/ 522 h 24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262"/>
                <a:gd name="T88" fmla="*/ 0 h 249"/>
                <a:gd name="T89" fmla="*/ 262 w 262"/>
                <a:gd name="T90" fmla="*/ 249 h 24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262" h="249">
                  <a:moveTo>
                    <a:pt x="262" y="178"/>
                  </a:moveTo>
                  <a:lnTo>
                    <a:pt x="214" y="178"/>
                  </a:lnTo>
                  <a:lnTo>
                    <a:pt x="155" y="191"/>
                  </a:lnTo>
                  <a:lnTo>
                    <a:pt x="142" y="220"/>
                  </a:lnTo>
                  <a:lnTo>
                    <a:pt x="125" y="237"/>
                  </a:lnTo>
                  <a:lnTo>
                    <a:pt x="89" y="249"/>
                  </a:lnTo>
                  <a:lnTo>
                    <a:pt x="60" y="237"/>
                  </a:lnTo>
                  <a:lnTo>
                    <a:pt x="66" y="226"/>
                  </a:lnTo>
                  <a:lnTo>
                    <a:pt x="66" y="178"/>
                  </a:lnTo>
                  <a:lnTo>
                    <a:pt x="53" y="165"/>
                  </a:lnTo>
                  <a:lnTo>
                    <a:pt x="17" y="173"/>
                  </a:lnTo>
                  <a:lnTo>
                    <a:pt x="0" y="160"/>
                  </a:lnTo>
                  <a:lnTo>
                    <a:pt x="17" y="142"/>
                  </a:lnTo>
                  <a:lnTo>
                    <a:pt x="24" y="112"/>
                  </a:lnTo>
                  <a:lnTo>
                    <a:pt x="42" y="83"/>
                  </a:lnTo>
                  <a:lnTo>
                    <a:pt x="70" y="66"/>
                  </a:lnTo>
                  <a:lnTo>
                    <a:pt x="89" y="30"/>
                  </a:lnTo>
                  <a:lnTo>
                    <a:pt x="106" y="0"/>
                  </a:lnTo>
                  <a:lnTo>
                    <a:pt x="125" y="30"/>
                  </a:lnTo>
                  <a:lnTo>
                    <a:pt x="131" y="42"/>
                  </a:lnTo>
                  <a:lnTo>
                    <a:pt x="155" y="42"/>
                  </a:lnTo>
                  <a:lnTo>
                    <a:pt x="173" y="53"/>
                  </a:lnTo>
                  <a:lnTo>
                    <a:pt x="167" y="83"/>
                  </a:lnTo>
                  <a:lnTo>
                    <a:pt x="178" y="95"/>
                  </a:lnTo>
                  <a:lnTo>
                    <a:pt x="203" y="95"/>
                  </a:lnTo>
                  <a:lnTo>
                    <a:pt x="191" y="148"/>
                  </a:lnTo>
                  <a:lnTo>
                    <a:pt x="203" y="155"/>
                  </a:lnTo>
                  <a:lnTo>
                    <a:pt x="220" y="155"/>
                  </a:lnTo>
                  <a:lnTo>
                    <a:pt x="262" y="178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15" name="Freeform 142"/>
            <p:cNvSpPr>
              <a:spLocks/>
            </p:cNvSpPr>
            <p:nvPr/>
          </p:nvSpPr>
          <p:spPr bwMode="auto">
            <a:xfrm>
              <a:off x="3342" y="2874"/>
              <a:ext cx="250" cy="183"/>
            </a:xfrm>
            <a:custGeom>
              <a:avLst/>
              <a:gdLst>
                <a:gd name="T0" fmla="*/ 9945325 w 203"/>
                <a:gd name="T1" fmla="*/ 450 h 179"/>
                <a:gd name="T2" fmla="*/ 7803641 w 203"/>
                <a:gd name="T3" fmla="*/ 413 h 179"/>
                <a:gd name="T4" fmla="*/ 7238956 w 203"/>
                <a:gd name="T5" fmla="*/ 470 h 179"/>
                <a:gd name="T6" fmla="*/ 7238956 w 203"/>
                <a:gd name="T7" fmla="*/ 537 h 179"/>
                <a:gd name="T8" fmla="*/ 8667448 w 203"/>
                <a:gd name="T9" fmla="*/ 568 h 179"/>
                <a:gd name="T10" fmla="*/ 7803641 w 203"/>
                <a:gd name="T11" fmla="*/ 589 h 179"/>
                <a:gd name="T12" fmla="*/ 6380203 w 203"/>
                <a:gd name="T13" fmla="*/ 589 h 179"/>
                <a:gd name="T14" fmla="*/ 5514912 w 203"/>
                <a:gd name="T15" fmla="*/ 551 h 179"/>
                <a:gd name="T16" fmla="*/ 5514912 w 203"/>
                <a:gd name="T17" fmla="*/ 515 h 179"/>
                <a:gd name="T18" fmla="*/ 3233606 w 203"/>
                <a:gd name="T19" fmla="*/ 492 h 179"/>
                <a:gd name="T20" fmla="*/ 3233606 w 203"/>
                <a:gd name="T21" fmla="*/ 395 h 179"/>
                <a:gd name="T22" fmla="*/ 2314792 w 203"/>
                <a:gd name="T23" fmla="*/ 316 h 179"/>
                <a:gd name="T24" fmla="*/ 1731232 w 203"/>
                <a:gd name="T25" fmla="*/ 237 h 179"/>
                <a:gd name="T26" fmla="*/ 461797 w 203"/>
                <a:gd name="T27" fmla="*/ 225 h 179"/>
                <a:gd name="T28" fmla="*/ 0 w 203"/>
                <a:gd name="T29" fmla="*/ 148 h 179"/>
                <a:gd name="T30" fmla="*/ 0 w 203"/>
                <a:gd name="T31" fmla="*/ 102 h 179"/>
                <a:gd name="T32" fmla="*/ 1405760 w 203"/>
                <a:gd name="T33" fmla="*/ 112 h 179"/>
                <a:gd name="T34" fmla="*/ 2314792 w 203"/>
                <a:gd name="T35" fmla="*/ 102 h 179"/>
                <a:gd name="T36" fmla="*/ 2754722 w 203"/>
                <a:gd name="T37" fmla="*/ 6 h 179"/>
                <a:gd name="T38" fmla="*/ 3705877 w 203"/>
                <a:gd name="T39" fmla="*/ 0 h 179"/>
                <a:gd name="T40" fmla="*/ 4072906 w 203"/>
                <a:gd name="T41" fmla="*/ 12 h 179"/>
                <a:gd name="T42" fmla="*/ 5514912 w 203"/>
                <a:gd name="T43" fmla="*/ 6 h 179"/>
                <a:gd name="T44" fmla="*/ 6380203 w 203"/>
                <a:gd name="T45" fmla="*/ 6 h 179"/>
                <a:gd name="T46" fmla="*/ 7238956 w 203"/>
                <a:gd name="T47" fmla="*/ 0 h 179"/>
                <a:gd name="T48" fmla="*/ 10545007 w 203"/>
                <a:gd name="T49" fmla="*/ 12 h 179"/>
                <a:gd name="T50" fmla="*/ 11316770 w 203"/>
                <a:gd name="T51" fmla="*/ 6 h 179"/>
                <a:gd name="T52" fmla="*/ 12247932 w 203"/>
                <a:gd name="T53" fmla="*/ 102 h 179"/>
                <a:gd name="T54" fmla="*/ 13673557 w 203"/>
                <a:gd name="T55" fmla="*/ 130 h 179"/>
                <a:gd name="T56" fmla="*/ 15535143 w 203"/>
                <a:gd name="T57" fmla="*/ 148 h 179"/>
                <a:gd name="T58" fmla="*/ 14676079 w 203"/>
                <a:gd name="T59" fmla="*/ 148 h 179"/>
                <a:gd name="T60" fmla="*/ 14676079 w 203"/>
                <a:gd name="T61" fmla="*/ 189 h 179"/>
                <a:gd name="T62" fmla="*/ 15535143 w 203"/>
                <a:gd name="T63" fmla="*/ 237 h 179"/>
                <a:gd name="T64" fmla="*/ 14137262 w 203"/>
                <a:gd name="T65" fmla="*/ 292 h 179"/>
                <a:gd name="T66" fmla="*/ 13323459 w 203"/>
                <a:gd name="T67" fmla="*/ 378 h 179"/>
                <a:gd name="T68" fmla="*/ 9945325 w 203"/>
                <a:gd name="T69" fmla="*/ 450 h 179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03"/>
                <a:gd name="T106" fmla="*/ 0 h 179"/>
                <a:gd name="T107" fmla="*/ 203 w 203"/>
                <a:gd name="T108" fmla="*/ 179 h 179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03" h="179">
                  <a:moveTo>
                    <a:pt x="131" y="137"/>
                  </a:moveTo>
                  <a:lnTo>
                    <a:pt x="102" y="126"/>
                  </a:lnTo>
                  <a:lnTo>
                    <a:pt x="95" y="143"/>
                  </a:lnTo>
                  <a:lnTo>
                    <a:pt x="95" y="162"/>
                  </a:lnTo>
                  <a:lnTo>
                    <a:pt x="114" y="173"/>
                  </a:lnTo>
                  <a:lnTo>
                    <a:pt x="102" y="179"/>
                  </a:lnTo>
                  <a:lnTo>
                    <a:pt x="84" y="179"/>
                  </a:lnTo>
                  <a:lnTo>
                    <a:pt x="72" y="167"/>
                  </a:lnTo>
                  <a:lnTo>
                    <a:pt x="72" y="156"/>
                  </a:lnTo>
                  <a:lnTo>
                    <a:pt x="42" y="149"/>
                  </a:lnTo>
                  <a:lnTo>
                    <a:pt x="42" y="120"/>
                  </a:lnTo>
                  <a:lnTo>
                    <a:pt x="30" y="97"/>
                  </a:lnTo>
                  <a:lnTo>
                    <a:pt x="23" y="71"/>
                  </a:lnTo>
                  <a:lnTo>
                    <a:pt x="6" y="67"/>
                  </a:lnTo>
                  <a:lnTo>
                    <a:pt x="0" y="48"/>
                  </a:lnTo>
                  <a:lnTo>
                    <a:pt x="0" y="31"/>
                  </a:lnTo>
                  <a:lnTo>
                    <a:pt x="19" y="36"/>
                  </a:lnTo>
                  <a:lnTo>
                    <a:pt x="30" y="31"/>
                  </a:lnTo>
                  <a:lnTo>
                    <a:pt x="36" y="6"/>
                  </a:lnTo>
                  <a:lnTo>
                    <a:pt x="48" y="0"/>
                  </a:lnTo>
                  <a:lnTo>
                    <a:pt x="53" y="12"/>
                  </a:lnTo>
                  <a:lnTo>
                    <a:pt x="72" y="6"/>
                  </a:lnTo>
                  <a:lnTo>
                    <a:pt x="84" y="6"/>
                  </a:lnTo>
                  <a:lnTo>
                    <a:pt x="95" y="0"/>
                  </a:lnTo>
                  <a:lnTo>
                    <a:pt x="138" y="12"/>
                  </a:lnTo>
                  <a:lnTo>
                    <a:pt x="148" y="6"/>
                  </a:lnTo>
                  <a:lnTo>
                    <a:pt x="161" y="31"/>
                  </a:lnTo>
                  <a:lnTo>
                    <a:pt x="179" y="42"/>
                  </a:lnTo>
                  <a:lnTo>
                    <a:pt x="203" y="48"/>
                  </a:lnTo>
                  <a:lnTo>
                    <a:pt x="192" y="48"/>
                  </a:lnTo>
                  <a:lnTo>
                    <a:pt x="192" y="59"/>
                  </a:lnTo>
                  <a:lnTo>
                    <a:pt x="203" y="71"/>
                  </a:lnTo>
                  <a:lnTo>
                    <a:pt x="184" y="90"/>
                  </a:lnTo>
                  <a:lnTo>
                    <a:pt x="174" y="114"/>
                  </a:lnTo>
                  <a:lnTo>
                    <a:pt x="131" y="137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16" name="Freeform 143"/>
            <p:cNvSpPr>
              <a:spLocks/>
            </p:cNvSpPr>
            <p:nvPr/>
          </p:nvSpPr>
          <p:spPr bwMode="auto">
            <a:xfrm>
              <a:off x="3557" y="2918"/>
              <a:ext cx="180" cy="139"/>
            </a:xfrm>
            <a:custGeom>
              <a:avLst/>
              <a:gdLst>
                <a:gd name="T0" fmla="*/ 5570895 w 147"/>
                <a:gd name="T1" fmla="*/ 173 h 137"/>
                <a:gd name="T2" fmla="*/ 4549567 w 147"/>
                <a:gd name="T3" fmla="*/ 173 h 137"/>
                <a:gd name="T4" fmla="*/ 3656270 w 147"/>
                <a:gd name="T5" fmla="*/ 206 h 137"/>
                <a:gd name="T6" fmla="*/ 2936334 w 147"/>
                <a:gd name="T7" fmla="*/ 238 h 137"/>
                <a:gd name="T8" fmla="*/ 2570207 w 147"/>
                <a:gd name="T9" fmla="*/ 294 h 137"/>
                <a:gd name="T10" fmla="*/ 987315 w 147"/>
                <a:gd name="T11" fmla="*/ 270 h 137"/>
                <a:gd name="T12" fmla="*/ 537762 w 147"/>
                <a:gd name="T13" fmla="*/ 238 h 137"/>
                <a:gd name="T14" fmla="*/ 537762 w 147"/>
                <a:gd name="T15" fmla="*/ 188 h 137"/>
                <a:gd name="T16" fmla="*/ 0 w 147"/>
                <a:gd name="T17" fmla="*/ 149 h 137"/>
                <a:gd name="T18" fmla="*/ 537762 w 147"/>
                <a:gd name="T19" fmla="*/ 102 h 137"/>
                <a:gd name="T20" fmla="*/ 1647602 w 147"/>
                <a:gd name="T21" fmla="*/ 29 h 137"/>
                <a:gd name="T22" fmla="*/ 987315 w 147"/>
                <a:gd name="T23" fmla="*/ 17 h 137"/>
                <a:gd name="T24" fmla="*/ 987315 w 147"/>
                <a:gd name="T25" fmla="*/ 6 h 137"/>
                <a:gd name="T26" fmla="*/ 1647602 w 147"/>
                <a:gd name="T27" fmla="*/ 6 h 137"/>
                <a:gd name="T28" fmla="*/ 3656270 w 147"/>
                <a:gd name="T29" fmla="*/ 17 h 137"/>
                <a:gd name="T30" fmla="*/ 5042318 w 147"/>
                <a:gd name="T31" fmla="*/ 12 h 137"/>
                <a:gd name="T32" fmla="*/ 5290002 w 147"/>
                <a:gd name="T33" fmla="*/ 0 h 137"/>
                <a:gd name="T34" fmla="*/ 7331495 w 147"/>
                <a:gd name="T35" fmla="*/ 6 h 137"/>
                <a:gd name="T36" fmla="*/ 7331495 w 147"/>
                <a:gd name="T37" fmla="*/ 19 h 137"/>
                <a:gd name="T38" fmla="*/ 7640967 w 147"/>
                <a:gd name="T39" fmla="*/ 29 h 137"/>
                <a:gd name="T40" fmla="*/ 6982613 w 147"/>
                <a:gd name="T41" fmla="*/ 115 h 137"/>
                <a:gd name="T42" fmla="*/ 7331495 w 147"/>
                <a:gd name="T43" fmla="*/ 135 h 137"/>
                <a:gd name="T44" fmla="*/ 7640967 w 147"/>
                <a:gd name="T45" fmla="*/ 206 h 137"/>
                <a:gd name="T46" fmla="*/ 8015578 w 147"/>
                <a:gd name="T47" fmla="*/ 173 h 137"/>
                <a:gd name="T48" fmla="*/ 8219744 w 147"/>
                <a:gd name="T49" fmla="*/ 188 h 137"/>
                <a:gd name="T50" fmla="*/ 7931691 w 147"/>
                <a:gd name="T51" fmla="*/ 224 h 137"/>
                <a:gd name="T52" fmla="*/ 8015578 w 147"/>
                <a:gd name="T53" fmla="*/ 249 h 137"/>
                <a:gd name="T54" fmla="*/ 7640967 w 147"/>
                <a:gd name="T55" fmla="*/ 249 h 137"/>
                <a:gd name="T56" fmla="*/ 5570895 w 147"/>
                <a:gd name="T57" fmla="*/ 173 h 13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7"/>
                <a:gd name="T88" fmla="*/ 0 h 137"/>
                <a:gd name="T89" fmla="*/ 147 w 147"/>
                <a:gd name="T90" fmla="*/ 137 h 13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7" h="137">
                  <a:moveTo>
                    <a:pt x="100" y="84"/>
                  </a:moveTo>
                  <a:lnTo>
                    <a:pt x="82" y="84"/>
                  </a:lnTo>
                  <a:lnTo>
                    <a:pt x="65" y="95"/>
                  </a:lnTo>
                  <a:lnTo>
                    <a:pt x="52" y="108"/>
                  </a:lnTo>
                  <a:lnTo>
                    <a:pt x="46" y="137"/>
                  </a:lnTo>
                  <a:lnTo>
                    <a:pt x="18" y="125"/>
                  </a:lnTo>
                  <a:lnTo>
                    <a:pt x="10" y="108"/>
                  </a:lnTo>
                  <a:lnTo>
                    <a:pt x="10" y="89"/>
                  </a:lnTo>
                  <a:lnTo>
                    <a:pt x="0" y="72"/>
                  </a:lnTo>
                  <a:lnTo>
                    <a:pt x="10" y="48"/>
                  </a:lnTo>
                  <a:lnTo>
                    <a:pt x="29" y="29"/>
                  </a:lnTo>
                  <a:lnTo>
                    <a:pt x="18" y="17"/>
                  </a:lnTo>
                  <a:lnTo>
                    <a:pt x="18" y="6"/>
                  </a:lnTo>
                  <a:lnTo>
                    <a:pt x="29" y="6"/>
                  </a:lnTo>
                  <a:lnTo>
                    <a:pt x="65" y="17"/>
                  </a:lnTo>
                  <a:lnTo>
                    <a:pt x="90" y="12"/>
                  </a:lnTo>
                  <a:lnTo>
                    <a:pt x="94" y="0"/>
                  </a:lnTo>
                  <a:lnTo>
                    <a:pt x="130" y="6"/>
                  </a:lnTo>
                  <a:lnTo>
                    <a:pt x="130" y="19"/>
                  </a:lnTo>
                  <a:lnTo>
                    <a:pt x="136" y="29"/>
                  </a:lnTo>
                  <a:lnTo>
                    <a:pt x="124" y="55"/>
                  </a:lnTo>
                  <a:lnTo>
                    <a:pt x="130" y="65"/>
                  </a:lnTo>
                  <a:lnTo>
                    <a:pt x="136" y="95"/>
                  </a:lnTo>
                  <a:lnTo>
                    <a:pt x="143" y="84"/>
                  </a:lnTo>
                  <a:lnTo>
                    <a:pt x="147" y="89"/>
                  </a:lnTo>
                  <a:lnTo>
                    <a:pt x="141" y="101"/>
                  </a:lnTo>
                  <a:lnTo>
                    <a:pt x="143" y="114"/>
                  </a:lnTo>
                  <a:lnTo>
                    <a:pt x="136" y="114"/>
                  </a:lnTo>
                  <a:lnTo>
                    <a:pt x="100" y="84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17" name="Freeform 144"/>
            <p:cNvSpPr>
              <a:spLocks/>
            </p:cNvSpPr>
            <p:nvPr/>
          </p:nvSpPr>
          <p:spPr bwMode="auto">
            <a:xfrm>
              <a:off x="3243" y="2948"/>
              <a:ext cx="379" cy="285"/>
            </a:xfrm>
            <a:custGeom>
              <a:avLst/>
              <a:gdLst>
                <a:gd name="T0" fmla="*/ 27329417 w 306"/>
                <a:gd name="T1" fmla="*/ 122 h 281"/>
                <a:gd name="T2" fmla="*/ 28093084 w 306"/>
                <a:gd name="T3" fmla="*/ 203 h 281"/>
                <a:gd name="T4" fmla="*/ 30558773 w 306"/>
                <a:gd name="T5" fmla="*/ 266 h 281"/>
                <a:gd name="T6" fmla="*/ 30987949 w 306"/>
                <a:gd name="T7" fmla="*/ 292 h 281"/>
                <a:gd name="T8" fmla="*/ 31890692 w 306"/>
                <a:gd name="T9" fmla="*/ 358 h 281"/>
                <a:gd name="T10" fmla="*/ 30987949 w 306"/>
                <a:gd name="T11" fmla="*/ 408 h 281"/>
                <a:gd name="T12" fmla="*/ 29863514 w 306"/>
                <a:gd name="T13" fmla="*/ 460 h 281"/>
                <a:gd name="T14" fmla="*/ 28093084 w 306"/>
                <a:gd name="T15" fmla="*/ 516 h 281"/>
                <a:gd name="T16" fmla="*/ 25441195 w 306"/>
                <a:gd name="T17" fmla="*/ 483 h 281"/>
                <a:gd name="T18" fmla="*/ 24381144 w 306"/>
                <a:gd name="T19" fmla="*/ 360 h 281"/>
                <a:gd name="T20" fmla="*/ 24818248 w 306"/>
                <a:gd name="T21" fmla="*/ 304 h 281"/>
                <a:gd name="T22" fmla="*/ 26719291 w 306"/>
                <a:gd name="T23" fmla="*/ 292 h 281"/>
                <a:gd name="T24" fmla="*/ 22284408 w 306"/>
                <a:gd name="T25" fmla="*/ 258 h 281"/>
                <a:gd name="T26" fmla="*/ 19721819 w 306"/>
                <a:gd name="T27" fmla="*/ 292 h 281"/>
                <a:gd name="T28" fmla="*/ 20540925 w 306"/>
                <a:gd name="T29" fmla="*/ 328 h 281"/>
                <a:gd name="T30" fmla="*/ 16876388 w 306"/>
                <a:gd name="T31" fmla="*/ 420 h 281"/>
                <a:gd name="T32" fmla="*/ 13148466 w 306"/>
                <a:gd name="T33" fmla="*/ 563 h 281"/>
                <a:gd name="T34" fmla="*/ 3738560 w 306"/>
                <a:gd name="T35" fmla="*/ 577 h 281"/>
                <a:gd name="T36" fmla="*/ 3738560 w 306"/>
                <a:gd name="T37" fmla="*/ 554 h 281"/>
                <a:gd name="T38" fmla="*/ 3160910 w 306"/>
                <a:gd name="T39" fmla="*/ 577 h 281"/>
                <a:gd name="T40" fmla="*/ 0 w 306"/>
                <a:gd name="T41" fmla="*/ 563 h 281"/>
                <a:gd name="T42" fmla="*/ 2552080 w 306"/>
                <a:gd name="T43" fmla="*/ 483 h 281"/>
                <a:gd name="T44" fmla="*/ 3160910 w 306"/>
                <a:gd name="T45" fmla="*/ 400 h 281"/>
                <a:gd name="T46" fmla="*/ 5690024 w 306"/>
                <a:gd name="T47" fmla="*/ 328 h 281"/>
                <a:gd name="T48" fmla="*/ 4896570 w 306"/>
                <a:gd name="T49" fmla="*/ 246 h 281"/>
                <a:gd name="T50" fmla="*/ 8728701 w 306"/>
                <a:gd name="T51" fmla="*/ 172 h 281"/>
                <a:gd name="T52" fmla="*/ 9303473 w 306"/>
                <a:gd name="T53" fmla="*/ 103 h 281"/>
                <a:gd name="T54" fmla="*/ 10546317 w 306"/>
                <a:gd name="T55" fmla="*/ 0 h 281"/>
                <a:gd name="T56" fmla="*/ 12583058 w 306"/>
                <a:gd name="T57" fmla="*/ 103 h 281"/>
                <a:gd name="T58" fmla="*/ 15604177 w 306"/>
                <a:gd name="T59" fmla="*/ 172 h 281"/>
                <a:gd name="T60" fmla="*/ 16876388 w 306"/>
                <a:gd name="T61" fmla="*/ 236 h 281"/>
                <a:gd name="T62" fmla="*/ 19721819 w 306"/>
                <a:gd name="T63" fmla="*/ 221 h 281"/>
                <a:gd name="T64" fmla="*/ 17973654 w 306"/>
                <a:gd name="T65" fmla="*/ 146 h 281"/>
                <a:gd name="T66" fmla="*/ 21845422 w 306"/>
                <a:gd name="T67" fmla="*/ 134 h 281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06"/>
                <a:gd name="T103" fmla="*/ 0 h 281"/>
                <a:gd name="T104" fmla="*/ 306 w 306"/>
                <a:gd name="T105" fmla="*/ 281 h 281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06" h="281">
                  <a:moveTo>
                    <a:pt x="251" y="43"/>
                  </a:moveTo>
                  <a:lnTo>
                    <a:pt x="262" y="60"/>
                  </a:lnTo>
                  <a:lnTo>
                    <a:pt x="262" y="79"/>
                  </a:lnTo>
                  <a:lnTo>
                    <a:pt x="270" y="96"/>
                  </a:lnTo>
                  <a:lnTo>
                    <a:pt x="298" y="108"/>
                  </a:lnTo>
                  <a:lnTo>
                    <a:pt x="293" y="125"/>
                  </a:lnTo>
                  <a:lnTo>
                    <a:pt x="293" y="138"/>
                  </a:lnTo>
                  <a:lnTo>
                    <a:pt x="298" y="138"/>
                  </a:lnTo>
                  <a:lnTo>
                    <a:pt x="306" y="155"/>
                  </a:lnTo>
                  <a:lnTo>
                    <a:pt x="306" y="167"/>
                  </a:lnTo>
                  <a:lnTo>
                    <a:pt x="304" y="180"/>
                  </a:lnTo>
                  <a:lnTo>
                    <a:pt x="298" y="191"/>
                  </a:lnTo>
                  <a:lnTo>
                    <a:pt x="280" y="209"/>
                  </a:lnTo>
                  <a:lnTo>
                    <a:pt x="287" y="216"/>
                  </a:lnTo>
                  <a:lnTo>
                    <a:pt x="274" y="227"/>
                  </a:lnTo>
                  <a:lnTo>
                    <a:pt x="270" y="240"/>
                  </a:lnTo>
                  <a:lnTo>
                    <a:pt x="257" y="240"/>
                  </a:lnTo>
                  <a:lnTo>
                    <a:pt x="245" y="227"/>
                  </a:lnTo>
                  <a:lnTo>
                    <a:pt x="234" y="191"/>
                  </a:lnTo>
                  <a:lnTo>
                    <a:pt x="234" y="168"/>
                  </a:lnTo>
                  <a:lnTo>
                    <a:pt x="238" y="167"/>
                  </a:lnTo>
                  <a:lnTo>
                    <a:pt x="238" y="144"/>
                  </a:lnTo>
                  <a:lnTo>
                    <a:pt x="245" y="144"/>
                  </a:lnTo>
                  <a:lnTo>
                    <a:pt x="257" y="138"/>
                  </a:lnTo>
                  <a:lnTo>
                    <a:pt x="238" y="121"/>
                  </a:lnTo>
                  <a:lnTo>
                    <a:pt x="215" y="121"/>
                  </a:lnTo>
                  <a:lnTo>
                    <a:pt x="203" y="125"/>
                  </a:lnTo>
                  <a:lnTo>
                    <a:pt x="190" y="138"/>
                  </a:lnTo>
                  <a:lnTo>
                    <a:pt x="185" y="155"/>
                  </a:lnTo>
                  <a:lnTo>
                    <a:pt x="198" y="155"/>
                  </a:lnTo>
                  <a:lnTo>
                    <a:pt x="180" y="168"/>
                  </a:lnTo>
                  <a:lnTo>
                    <a:pt x="162" y="197"/>
                  </a:lnTo>
                  <a:lnTo>
                    <a:pt x="144" y="269"/>
                  </a:lnTo>
                  <a:lnTo>
                    <a:pt x="126" y="263"/>
                  </a:lnTo>
                  <a:lnTo>
                    <a:pt x="55" y="263"/>
                  </a:lnTo>
                  <a:lnTo>
                    <a:pt x="36" y="269"/>
                  </a:lnTo>
                  <a:lnTo>
                    <a:pt x="48" y="258"/>
                  </a:lnTo>
                  <a:lnTo>
                    <a:pt x="36" y="258"/>
                  </a:lnTo>
                  <a:lnTo>
                    <a:pt x="25" y="258"/>
                  </a:lnTo>
                  <a:lnTo>
                    <a:pt x="31" y="269"/>
                  </a:lnTo>
                  <a:lnTo>
                    <a:pt x="0" y="281"/>
                  </a:lnTo>
                  <a:lnTo>
                    <a:pt x="0" y="263"/>
                  </a:lnTo>
                  <a:lnTo>
                    <a:pt x="6" y="245"/>
                  </a:lnTo>
                  <a:lnTo>
                    <a:pt x="25" y="227"/>
                  </a:lnTo>
                  <a:lnTo>
                    <a:pt x="36" y="204"/>
                  </a:lnTo>
                  <a:lnTo>
                    <a:pt x="31" y="186"/>
                  </a:lnTo>
                  <a:lnTo>
                    <a:pt x="42" y="174"/>
                  </a:lnTo>
                  <a:lnTo>
                    <a:pt x="55" y="155"/>
                  </a:lnTo>
                  <a:lnTo>
                    <a:pt x="42" y="138"/>
                  </a:lnTo>
                  <a:lnTo>
                    <a:pt x="48" y="115"/>
                  </a:lnTo>
                  <a:lnTo>
                    <a:pt x="72" y="108"/>
                  </a:lnTo>
                  <a:lnTo>
                    <a:pt x="84" y="85"/>
                  </a:lnTo>
                  <a:lnTo>
                    <a:pt x="84" y="66"/>
                  </a:lnTo>
                  <a:lnTo>
                    <a:pt x="90" y="49"/>
                  </a:lnTo>
                  <a:lnTo>
                    <a:pt x="90" y="7"/>
                  </a:lnTo>
                  <a:lnTo>
                    <a:pt x="101" y="0"/>
                  </a:lnTo>
                  <a:lnTo>
                    <a:pt x="108" y="26"/>
                  </a:lnTo>
                  <a:lnTo>
                    <a:pt x="120" y="49"/>
                  </a:lnTo>
                  <a:lnTo>
                    <a:pt x="120" y="78"/>
                  </a:lnTo>
                  <a:lnTo>
                    <a:pt x="150" y="85"/>
                  </a:lnTo>
                  <a:lnTo>
                    <a:pt x="150" y="96"/>
                  </a:lnTo>
                  <a:lnTo>
                    <a:pt x="162" y="108"/>
                  </a:lnTo>
                  <a:lnTo>
                    <a:pt x="180" y="108"/>
                  </a:lnTo>
                  <a:lnTo>
                    <a:pt x="190" y="102"/>
                  </a:lnTo>
                  <a:lnTo>
                    <a:pt x="173" y="91"/>
                  </a:lnTo>
                  <a:lnTo>
                    <a:pt x="173" y="72"/>
                  </a:lnTo>
                  <a:lnTo>
                    <a:pt x="180" y="55"/>
                  </a:lnTo>
                  <a:lnTo>
                    <a:pt x="209" y="66"/>
                  </a:lnTo>
                  <a:lnTo>
                    <a:pt x="251" y="43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18" name="Freeform 145"/>
            <p:cNvSpPr>
              <a:spLocks/>
            </p:cNvSpPr>
            <p:nvPr/>
          </p:nvSpPr>
          <p:spPr bwMode="auto">
            <a:xfrm>
              <a:off x="3158" y="2631"/>
              <a:ext cx="300" cy="463"/>
            </a:xfrm>
            <a:custGeom>
              <a:avLst/>
              <a:gdLst>
                <a:gd name="T0" fmla="*/ 19269254 w 243"/>
                <a:gd name="T1" fmla="*/ 555 h 454"/>
                <a:gd name="T2" fmla="*/ 18676899 w 243"/>
                <a:gd name="T3" fmla="*/ 585 h 454"/>
                <a:gd name="T4" fmla="*/ 21214049 w 243"/>
                <a:gd name="T5" fmla="*/ 621 h 454"/>
                <a:gd name="T6" fmla="*/ 21214049 w 243"/>
                <a:gd name="T7" fmla="*/ 689 h 454"/>
                <a:gd name="T8" fmla="*/ 20242775 w 243"/>
                <a:gd name="T9" fmla="*/ 705 h 454"/>
                <a:gd name="T10" fmla="*/ 19269254 w 243"/>
                <a:gd name="T11" fmla="*/ 705 h 454"/>
                <a:gd name="T12" fmla="*/ 17587842 w 243"/>
                <a:gd name="T13" fmla="*/ 721 h 454"/>
                <a:gd name="T14" fmla="*/ 17160208 w 243"/>
                <a:gd name="T15" fmla="*/ 689 h 454"/>
                <a:gd name="T16" fmla="*/ 16093789 w 243"/>
                <a:gd name="T17" fmla="*/ 705 h 454"/>
                <a:gd name="T18" fmla="*/ 15608100 w 243"/>
                <a:gd name="T19" fmla="*/ 778 h 454"/>
                <a:gd name="T20" fmla="*/ 14445028 w 243"/>
                <a:gd name="T21" fmla="*/ 793 h 454"/>
                <a:gd name="T22" fmla="*/ 12969454 w 243"/>
                <a:gd name="T23" fmla="*/ 778 h 454"/>
                <a:gd name="T24" fmla="*/ 12969454 w 243"/>
                <a:gd name="T25" fmla="*/ 827 h 454"/>
                <a:gd name="T26" fmla="*/ 13479715 w 243"/>
                <a:gd name="T27" fmla="*/ 885 h 454"/>
                <a:gd name="T28" fmla="*/ 14932248 w 243"/>
                <a:gd name="T29" fmla="*/ 892 h 454"/>
                <a:gd name="T30" fmla="*/ 14003429 w 243"/>
                <a:gd name="T31" fmla="*/ 912 h 454"/>
                <a:gd name="T32" fmla="*/ 14003429 w 243"/>
                <a:gd name="T33" fmla="*/ 1037 h 454"/>
                <a:gd name="T34" fmla="*/ 13479715 w 243"/>
                <a:gd name="T35" fmla="*/ 1103 h 454"/>
                <a:gd name="T36" fmla="*/ 13479715 w 243"/>
                <a:gd name="T37" fmla="*/ 1143 h 454"/>
                <a:gd name="T38" fmla="*/ 12382234 w 243"/>
                <a:gd name="T39" fmla="*/ 1204 h 454"/>
                <a:gd name="T40" fmla="*/ 10305728 w 243"/>
                <a:gd name="T41" fmla="*/ 1224 h 454"/>
                <a:gd name="T42" fmla="*/ 9754904 w 243"/>
                <a:gd name="T43" fmla="*/ 1291 h 454"/>
                <a:gd name="T44" fmla="*/ 8294786 w 243"/>
                <a:gd name="T45" fmla="*/ 1291 h 454"/>
                <a:gd name="T46" fmla="*/ 6655408 w 243"/>
                <a:gd name="T47" fmla="*/ 1314 h 454"/>
                <a:gd name="T48" fmla="*/ 6104658 w 243"/>
                <a:gd name="T49" fmla="*/ 1273 h 454"/>
                <a:gd name="T50" fmla="*/ 5686268 w 243"/>
                <a:gd name="T51" fmla="*/ 1262 h 454"/>
                <a:gd name="T52" fmla="*/ 5173202 w 243"/>
                <a:gd name="T53" fmla="*/ 1170 h 454"/>
                <a:gd name="T54" fmla="*/ 4005267 w 243"/>
                <a:gd name="T55" fmla="*/ 1122 h 454"/>
                <a:gd name="T56" fmla="*/ 3124307 w 243"/>
                <a:gd name="T57" fmla="*/ 1065 h 454"/>
                <a:gd name="T58" fmla="*/ 3124307 w 243"/>
                <a:gd name="T59" fmla="*/ 981 h 454"/>
                <a:gd name="T60" fmla="*/ 1464160 w 243"/>
                <a:gd name="T61" fmla="*/ 948 h 454"/>
                <a:gd name="T62" fmla="*/ 960635 w 243"/>
                <a:gd name="T63" fmla="*/ 948 h 454"/>
                <a:gd name="T64" fmla="*/ 0 w 243"/>
                <a:gd name="T65" fmla="*/ 892 h 454"/>
                <a:gd name="T66" fmla="*/ 510520 w 243"/>
                <a:gd name="T67" fmla="*/ 868 h 454"/>
                <a:gd name="T68" fmla="*/ 1464160 w 243"/>
                <a:gd name="T69" fmla="*/ 885 h 454"/>
                <a:gd name="T70" fmla="*/ 1464160 w 243"/>
                <a:gd name="T71" fmla="*/ 741 h 454"/>
                <a:gd name="T72" fmla="*/ 1982680 w 243"/>
                <a:gd name="T73" fmla="*/ 601 h 454"/>
                <a:gd name="T74" fmla="*/ 1464160 w 243"/>
                <a:gd name="T75" fmla="*/ 523 h 454"/>
                <a:gd name="T76" fmla="*/ 1464160 w 243"/>
                <a:gd name="T77" fmla="*/ 450 h 454"/>
                <a:gd name="T78" fmla="*/ 960635 w 243"/>
                <a:gd name="T79" fmla="*/ 414 h 454"/>
                <a:gd name="T80" fmla="*/ 1464160 w 243"/>
                <a:gd name="T81" fmla="*/ 344 h 454"/>
                <a:gd name="T82" fmla="*/ 1464160 w 243"/>
                <a:gd name="T83" fmla="*/ 227 h 454"/>
                <a:gd name="T84" fmla="*/ 2530688 w 243"/>
                <a:gd name="T85" fmla="*/ 187 h 454"/>
                <a:gd name="T86" fmla="*/ 3401326 w 243"/>
                <a:gd name="T87" fmla="*/ 116 h 454"/>
                <a:gd name="T88" fmla="*/ 6104658 w 243"/>
                <a:gd name="T89" fmla="*/ 104 h 454"/>
                <a:gd name="T90" fmla="*/ 5686268 w 243"/>
                <a:gd name="T91" fmla="*/ 149 h 454"/>
                <a:gd name="T92" fmla="*/ 6655408 w 243"/>
                <a:gd name="T93" fmla="*/ 167 h 454"/>
                <a:gd name="T94" fmla="*/ 7163675 w 243"/>
                <a:gd name="T95" fmla="*/ 131 h 454"/>
                <a:gd name="T96" fmla="*/ 8844040 w 243"/>
                <a:gd name="T97" fmla="*/ 104 h 454"/>
                <a:gd name="T98" fmla="*/ 10918570 w 243"/>
                <a:gd name="T99" fmla="*/ 104 h 454"/>
                <a:gd name="T100" fmla="*/ 11826027 w 243"/>
                <a:gd name="T101" fmla="*/ 8 h 454"/>
                <a:gd name="T102" fmla="*/ 13479715 w 243"/>
                <a:gd name="T103" fmla="*/ 0 h 454"/>
                <a:gd name="T104" fmla="*/ 14445028 w 243"/>
                <a:gd name="T105" fmla="*/ 19 h 454"/>
                <a:gd name="T106" fmla="*/ 14445028 w 243"/>
                <a:gd name="T107" fmla="*/ 94 h 454"/>
                <a:gd name="T108" fmla="*/ 16093789 w 243"/>
                <a:gd name="T109" fmla="*/ 94 h 454"/>
                <a:gd name="T110" fmla="*/ 17160208 w 243"/>
                <a:gd name="T111" fmla="*/ 131 h 454"/>
                <a:gd name="T112" fmla="*/ 15608100 w 243"/>
                <a:gd name="T113" fmla="*/ 227 h 454"/>
                <a:gd name="T114" fmla="*/ 14932248 w 243"/>
                <a:gd name="T115" fmla="*/ 306 h 454"/>
                <a:gd name="T116" fmla="*/ 13479715 w 243"/>
                <a:gd name="T117" fmla="*/ 365 h 454"/>
                <a:gd name="T118" fmla="*/ 14932248 w 243"/>
                <a:gd name="T119" fmla="*/ 400 h 454"/>
                <a:gd name="T120" fmla="*/ 18093334 w 243"/>
                <a:gd name="T121" fmla="*/ 379 h 454"/>
                <a:gd name="T122" fmla="*/ 19269254 w 243"/>
                <a:gd name="T123" fmla="*/ 414 h 454"/>
                <a:gd name="T124" fmla="*/ 19269254 w 243"/>
                <a:gd name="T125" fmla="*/ 555 h 45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43"/>
                <a:gd name="T190" fmla="*/ 0 h 454"/>
                <a:gd name="T191" fmla="*/ 243 w 243"/>
                <a:gd name="T192" fmla="*/ 454 h 45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43" h="454">
                  <a:moveTo>
                    <a:pt x="220" y="192"/>
                  </a:moveTo>
                  <a:lnTo>
                    <a:pt x="214" y="203"/>
                  </a:lnTo>
                  <a:lnTo>
                    <a:pt x="243" y="215"/>
                  </a:lnTo>
                  <a:lnTo>
                    <a:pt x="243" y="239"/>
                  </a:lnTo>
                  <a:lnTo>
                    <a:pt x="232" y="245"/>
                  </a:lnTo>
                  <a:lnTo>
                    <a:pt x="220" y="245"/>
                  </a:lnTo>
                  <a:lnTo>
                    <a:pt x="201" y="251"/>
                  </a:lnTo>
                  <a:lnTo>
                    <a:pt x="196" y="239"/>
                  </a:lnTo>
                  <a:lnTo>
                    <a:pt x="184" y="245"/>
                  </a:lnTo>
                  <a:lnTo>
                    <a:pt x="178" y="270"/>
                  </a:lnTo>
                  <a:lnTo>
                    <a:pt x="165" y="275"/>
                  </a:lnTo>
                  <a:lnTo>
                    <a:pt x="148" y="270"/>
                  </a:lnTo>
                  <a:lnTo>
                    <a:pt x="148" y="287"/>
                  </a:lnTo>
                  <a:lnTo>
                    <a:pt x="154" y="306"/>
                  </a:lnTo>
                  <a:lnTo>
                    <a:pt x="171" y="310"/>
                  </a:lnTo>
                  <a:lnTo>
                    <a:pt x="160" y="317"/>
                  </a:lnTo>
                  <a:lnTo>
                    <a:pt x="160" y="359"/>
                  </a:lnTo>
                  <a:lnTo>
                    <a:pt x="154" y="382"/>
                  </a:lnTo>
                  <a:lnTo>
                    <a:pt x="154" y="395"/>
                  </a:lnTo>
                  <a:lnTo>
                    <a:pt x="142" y="418"/>
                  </a:lnTo>
                  <a:lnTo>
                    <a:pt x="118" y="425"/>
                  </a:lnTo>
                  <a:lnTo>
                    <a:pt x="112" y="448"/>
                  </a:lnTo>
                  <a:lnTo>
                    <a:pt x="95" y="448"/>
                  </a:lnTo>
                  <a:lnTo>
                    <a:pt x="76" y="454"/>
                  </a:lnTo>
                  <a:lnTo>
                    <a:pt x="70" y="442"/>
                  </a:lnTo>
                  <a:lnTo>
                    <a:pt x="65" y="435"/>
                  </a:lnTo>
                  <a:lnTo>
                    <a:pt x="59" y="406"/>
                  </a:lnTo>
                  <a:lnTo>
                    <a:pt x="46" y="388"/>
                  </a:lnTo>
                  <a:lnTo>
                    <a:pt x="36" y="370"/>
                  </a:lnTo>
                  <a:lnTo>
                    <a:pt x="36" y="340"/>
                  </a:lnTo>
                  <a:lnTo>
                    <a:pt x="17" y="329"/>
                  </a:lnTo>
                  <a:lnTo>
                    <a:pt x="11" y="329"/>
                  </a:lnTo>
                  <a:lnTo>
                    <a:pt x="0" y="310"/>
                  </a:lnTo>
                  <a:lnTo>
                    <a:pt x="6" y="300"/>
                  </a:lnTo>
                  <a:lnTo>
                    <a:pt x="17" y="306"/>
                  </a:lnTo>
                  <a:lnTo>
                    <a:pt x="17" y="257"/>
                  </a:lnTo>
                  <a:lnTo>
                    <a:pt x="23" y="209"/>
                  </a:lnTo>
                  <a:lnTo>
                    <a:pt x="17" y="180"/>
                  </a:lnTo>
                  <a:lnTo>
                    <a:pt x="17" y="157"/>
                  </a:lnTo>
                  <a:lnTo>
                    <a:pt x="11" y="144"/>
                  </a:lnTo>
                  <a:lnTo>
                    <a:pt x="17" y="120"/>
                  </a:lnTo>
                  <a:lnTo>
                    <a:pt x="17" y="78"/>
                  </a:lnTo>
                  <a:lnTo>
                    <a:pt x="29" y="67"/>
                  </a:lnTo>
                  <a:lnTo>
                    <a:pt x="40" y="42"/>
                  </a:lnTo>
                  <a:lnTo>
                    <a:pt x="70" y="36"/>
                  </a:lnTo>
                  <a:lnTo>
                    <a:pt x="65" y="55"/>
                  </a:lnTo>
                  <a:lnTo>
                    <a:pt x="76" y="61"/>
                  </a:lnTo>
                  <a:lnTo>
                    <a:pt x="82" y="49"/>
                  </a:lnTo>
                  <a:lnTo>
                    <a:pt x="101" y="36"/>
                  </a:lnTo>
                  <a:lnTo>
                    <a:pt x="125" y="36"/>
                  </a:lnTo>
                  <a:lnTo>
                    <a:pt x="135" y="8"/>
                  </a:lnTo>
                  <a:lnTo>
                    <a:pt x="154" y="0"/>
                  </a:lnTo>
                  <a:lnTo>
                    <a:pt x="165" y="19"/>
                  </a:lnTo>
                  <a:lnTo>
                    <a:pt x="165" y="31"/>
                  </a:lnTo>
                  <a:lnTo>
                    <a:pt x="184" y="31"/>
                  </a:lnTo>
                  <a:lnTo>
                    <a:pt x="196" y="49"/>
                  </a:lnTo>
                  <a:lnTo>
                    <a:pt x="178" y="78"/>
                  </a:lnTo>
                  <a:lnTo>
                    <a:pt x="171" y="108"/>
                  </a:lnTo>
                  <a:lnTo>
                    <a:pt x="154" y="126"/>
                  </a:lnTo>
                  <a:lnTo>
                    <a:pt x="171" y="139"/>
                  </a:lnTo>
                  <a:lnTo>
                    <a:pt x="207" y="131"/>
                  </a:lnTo>
                  <a:lnTo>
                    <a:pt x="220" y="144"/>
                  </a:lnTo>
                  <a:lnTo>
                    <a:pt x="220" y="192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19" name="Freeform 146"/>
            <p:cNvSpPr>
              <a:spLocks/>
            </p:cNvSpPr>
            <p:nvPr/>
          </p:nvSpPr>
          <p:spPr bwMode="auto">
            <a:xfrm>
              <a:off x="2974" y="2677"/>
              <a:ext cx="205" cy="187"/>
            </a:xfrm>
            <a:custGeom>
              <a:avLst/>
              <a:gdLst>
                <a:gd name="T0" fmla="*/ 10731601 w 167"/>
                <a:gd name="T1" fmla="*/ 175 h 184"/>
                <a:gd name="T2" fmla="*/ 10356257 w 167"/>
                <a:gd name="T3" fmla="*/ 241 h 184"/>
                <a:gd name="T4" fmla="*/ 10731601 w 167"/>
                <a:gd name="T5" fmla="*/ 267 h 184"/>
                <a:gd name="T6" fmla="*/ 10731601 w 167"/>
                <a:gd name="T7" fmla="*/ 322 h 184"/>
                <a:gd name="T8" fmla="*/ 9626485 w 167"/>
                <a:gd name="T9" fmla="*/ 294 h 184"/>
                <a:gd name="T10" fmla="*/ 7670653 w 167"/>
                <a:gd name="T11" fmla="*/ 294 h 184"/>
                <a:gd name="T12" fmla="*/ 6510191 w 167"/>
                <a:gd name="T13" fmla="*/ 322 h 184"/>
                <a:gd name="T14" fmla="*/ 5046947 w 167"/>
                <a:gd name="T15" fmla="*/ 322 h 184"/>
                <a:gd name="T16" fmla="*/ 4239540 w 167"/>
                <a:gd name="T17" fmla="*/ 383 h 184"/>
                <a:gd name="T18" fmla="*/ 3378184 w 167"/>
                <a:gd name="T19" fmla="*/ 437 h 184"/>
                <a:gd name="T20" fmla="*/ 2291959 w 167"/>
                <a:gd name="T21" fmla="*/ 395 h 184"/>
                <a:gd name="T22" fmla="*/ 1204079 w 167"/>
                <a:gd name="T23" fmla="*/ 423 h 184"/>
                <a:gd name="T24" fmla="*/ 484863 w 167"/>
                <a:gd name="T25" fmla="*/ 383 h 184"/>
                <a:gd name="T26" fmla="*/ 767336 w 167"/>
                <a:gd name="T27" fmla="*/ 337 h 184"/>
                <a:gd name="T28" fmla="*/ 484863 w 167"/>
                <a:gd name="T29" fmla="*/ 294 h 184"/>
                <a:gd name="T30" fmla="*/ 0 w 167"/>
                <a:gd name="T31" fmla="*/ 241 h 184"/>
                <a:gd name="T32" fmla="*/ 0 w 167"/>
                <a:gd name="T33" fmla="*/ 157 h 184"/>
                <a:gd name="T34" fmla="*/ 767336 w 167"/>
                <a:gd name="T35" fmla="*/ 110 h 184"/>
                <a:gd name="T36" fmla="*/ 1912627 w 167"/>
                <a:gd name="T37" fmla="*/ 17 h 184"/>
                <a:gd name="T38" fmla="*/ 2291959 w 167"/>
                <a:gd name="T39" fmla="*/ 17 h 184"/>
                <a:gd name="T40" fmla="*/ 1912627 w 167"/>
                <a:gd name="T41" fmla="*/ 144 h 184"/>
                <a:gd name="T42" fmla="*/ 3068708 w 167"/>
                <a:gd name="T43" fmla="*/ 175 h 184"/>
                <a:gd name="T44" fmla="*/ 4624132 w 167"/>
                <a:gd name="T45" fmla="*/ 178 h 184"/>
                <a:gd name="T46" fmla="*/ 5368482 w 167"/>
                <a:gd name="T47" fmla="*/ 178 h 184"/>
                <a:gd name="T48" fmla="*/ 6208024 w 167"/>
                <a:gd name="T49" fmla="*/ 157 h 184"/>
                <a:gd name="T50" fmla="*/ 6510191 w 167"/>
                <a:gd name="T51" fmla="*/ 136 h 184"/>
                <a:gd name="T52" fmla="*/ 6510191 w 167"/>
                <a:gd name="T53" fmla="*/ 88 h 184"/>
                <a:gd name="T54" fmla="*/ 8436567 w 167"/>
                <a:gd name="T55" fmla="*/ 17 h 184"/>
                <a:gd name="T56" fmla="*/ 10356257 w 167"/>
                <a:gd name="T57" fmla="*/ 0 h 184"/>
                <a:gd name="T58" fmla="*/ 9961786 w 167"/>
                <a:gd name="T59" fmla="*/ 5 h 184"/>
                <a:gd name="T60" fmla="*/ 10731601 w 167"/>
                <a:gd name="T61" fmla="*/ 11 h 184"/>
                <a:gd name="T62" fmla="*/ 10731601 w 167"/>
                <a:gd name="T63" fmla="*/ 88 h 184"/>
                <a:gd name="T64" fmla="*/ 10731601 w 167"/>
                <a:gd name="T65" fmla="*/ 175 h 184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7"/>
                <a:gd name="T100" fmla="*/ 0 h 184"/>
                <a:gd name="T101" fmla="*/ 167 w 167"/>
                <a:gd name="T102" fmla="*/ 184 h 184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7" h="184">
                  <a:moveTo>
                    <a:pt x="167" y="76"/>
                  </a:moveTo>
                  <a:lnTo>
                    <a:pt x="161" y="100"/>
                  </a:lnTo>
                  <a:lnTo>
                    <a:pt x="167" y="113"/>
                  </a:lnTo>
                  <a:lnTo>
                    <a:pt x="167" y="136"/>
                  </a:lnTo>
                  <a:lnTo>
                    <a:pt x="150" y="125"/>
                  </a:lnTo>
                  <a:lnTo>
                    <a:pt x="120" y="125"/>
                  </a:lnTo>
                  <a:lnTo>
                    <a:pt x="101" y="136"/>
                  </a:lnTo>
                  <a:lnTo>
                    <a:pt x="78" y="136"/>
                  </a:lnTo>
                  <a:lnTo>
                    <a:pt x="66" y="159"/>
                  </a:lnTo>
                  <a:lnTo>
                    <a:pt x="53" y="184"/>
                  </a:lnTo>
                  <a:lnTo>
                    <a:pt x="36" y="165"/>
                  </a:lnTo>
                  <a:lnTo>
                    <a:pt x="19" y="178"/>
                  </a:lnTo>
                  <a:lnTo>
                    <a:pt x="7" y="159"/>
                  </a:lnTo>
                  <a:lnTo>
                    <a:pt x="12" y="142"/>
                  </a:lnTo>
                  <a:lnTo>
                    <a:pt x="7" y="125"/>
                  </a:lnTo>
                  <a:lnTo>
                    <a:pt x="0" y="100"/>
                  </a:lnTo>
                  <a:lnTo>
                    <a:pt x="0" y="70"/>
                  </a:lnTo>
                  <a:lnTo>
                    <a:pt x="12" y="47"/>
                  </a:lnTo>
                  <a:lnTo>
                    <a:pt x="30" y="17"/>
                  </a:lnTo>
                  <a:lnTo>
                    <a:pt x="36" y="17"/>
                  </a:lnTo>
                  <a:lnTo>
                    <a:pt x="30" y="64"/>
                  </a:lnTo>
                  <a:lnTo>
                    <a:pt x="48" y="76"/>
                  </a:lnTo>
                  <a:lnTo>
                    <a:pt x="72" y="77"/>
                  </a:lnTo>
                  <a:lnTo>
                    <a:pt x="84" y="77"/>
                  </a:lnTo>
                  <a:lnTo>
                    <a:pt x="97" y="70"/>
                  </a:lnTo>
                  <a:lnTo>
                    <a:pt x="101" y="60"/>
                  </a:lnTo>
                  <a:lnTo>
                    <a:pt x="101" y="34"/>
                  </a:lnTo>
                  <a:lnTo>
                    <a:pt x="131" y="17"/>
                  </a:lnTo>
                  <a:lnTo>
                    <a:pt x="161" y="0"/>
                  </a:lnTo>
                  <a:lnTo>
                    <a:pt x="156" y="5"/>
                  </a:lnTo>
                  <a:lnTo>
                    <a:pt x="167" y="11"/>
                  </a:lnTo>
                  <a:lnTo>
                    <a:pt x="167" y="34"/>
                  </a:lnTo>
                  <a:lnTo>
                    <a:pt x="167" y="76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20" name="Freeform 147"/>
            <p:cNvSpPr>
              <a:spLocks/>
            </p:cNvSpPr>
            <p:nvPr/>
          </p:nvSpPr>
          <p:spPr bwMode="auto">
            <a:xfrm>
              <a:off x="2702" y="3355"/>
              <a:ext cx="256" cy="229"/>
            </a:xfrm>
            <a:custGeom>
              <a:avLst/>
              <a:gdLst>
                <a:gd name="T0" fmla="*/ 6802947 w 209"/>
                <a:gd name="T1" fmla="*/ 83 h 225"/>
                <a:gd name="T2" fmla="*/ 6802947 w 209"/>
                <a:gd name="T3" fmla="*/ 12 h 225"/>
                <a:gd name="T4" fmla="*/ 5808790 w 209"/>
                <a:gd name="T5" fmla="*/ 0 h 225"/>
                <a:gd name="T6" fmla="*/ 4520205 w 209"/>
                <a:gd name="T7" fmla="*/ 18 h 225"/>
                <a:gd name="T8" fmla="*/ 2365205 w 209"/>
                <a:gd name="T9" fmla="*/ 105 h 225"/>
                <a:gd name="T10" fmla="*/ 1687370 w 209"/>
                <a:gd name="T11" fmla="*/ 117 h 225"/>
                <a:gd name="T12" fmla="*/ 329642 w 209"/>
                <a:gd name="T13" fmla="*/ 131 h 225"/>
                <a:gd name="T14" fmla="*/ 0 w 209"/>
                <a:gd name="T15" fmla="*/ 141 h 225"/>
                <a:gd name="T16" fmla="*/ 0 w 209"/>
                <a:gd name="T17" fmla="*/ 159 h 225"/>
                <a:gd name="T18" fmla="*/ 1050737 w 209"/>
                <a:gd name="T19" fmla="*/ 159 h 225"/>
                <a:gd name="T20" fmla="*/ 1287027 w 209"/>
                <a:gd name="T21" fmla="*/ 177 h 225"/>
                <a:gd name="T22" fmla="*/ 1687370 w 209"/>
                <a:gd name="T23" fmla="*/ 246 h 225"/>
                <a:gd name="T24" fmla="*/ 1050737 w 209"/>
                <a:gd name="T25" fmla="*/ 274 h 225"/>
                <a:gd name="T26" fmla="*/ 1050737 w 209"/>
                <a:gd name="T27" fmla="*/ 289 h 225"/>
                <a:gd name="T28" fmla="*/ 1687370 w 209"/>
                <a:gd name="T29" fmla="*/ 304 h 225"/>
                <a:gd name="T30" fmla="*/ 1287027 w 209"/>
                <a:gd name="T31" fmla="*/ 334 h 225"/>
                <a:gd name="T32" fmla="*/ 1687370 w 209"/>
                <a:gd name="T33" fmla="*/ 352 h 225"/>
                <a:gd name="T34" fmla="*/ 1287027 w 209"/>
                <a:gd name="T35" fmla="*/ 387 h 225"/>
                <a:gd name="T36" fmla="*/ 1687370 w 209"/>
                <a:gd name="T37" fmla="*/ 387 h 225"/>
                <a:gd name="T38" fmla="*/ 2778906 w 209"/>
                <a:gd name="T39" fmla="*/ 412 h 225"/>
                <a:gd name="T40" fmla="*/ 3362282 w 209"/>
                <a:gd name="T41" fmla="*/ 462 h 225"/>
                <a:gd name="T42" fmla="*/ 4742335 w 209"/>
                <a:gd name="T43" fmla="*/ 462 h 225"/>
                <a:gd name="T44" fmla="*/ 5106871 w 209"/>
                <a:gd name="T45" fmla="*/ 491 h 225"/>
                <a:gd name="T46" fmla="*/ 4742335 w 209"/>
                <a:gd name="T47" fmla="*/ 537 h 225"/>
                <a:gd name="T48" fmla="*/ 5808790 w 209"/>
                <a:gd name="T49" fmla="*/ 537 h 225"/>
                <a:gd name="T50" fmla="*/ 6521337 w 209"/>
                <a:gd name="T51" fmla="*/ 553 h 225"/>
                <a:gd name="T52" fmla="*/ 7912228 w 209"/>
                <a:gd name="T53" fmla="*/ 580 h 225"/>
                <a:gd name="T54" fmla="*/ 8861789 w 209"/>
                <a:gd name="T55" fmla="*/ 566 h 225"/>
                <a:gd name="T56" fmla="*/ 9951369 w 209"/>
                <a:gd name="T57" fmla="*/ 566 h 225"/>
                <a:gd name="T58" fmla="*/ 10515953 w 209"/>
                <a:gd name="T59" fmla="*/ 525 h 225"/>
                <a:gd name="T60" fmla="*/ 11628222 w 209"/>
                <a:gd name="T61" fmla="*/ 462 h 225"/>
                <a:gd name="T62" fmla="*/ 11628222 w 209"/>
                <a:gd name="T63" fmla="*/ 412 h 225"/>
                <a:gd name="T64" fmla="*/ 11984437 w 209"/>
                <a:gd name="T65" fmla="*/ 401 h 225"/>
                <a:gd name="T66" fmla="*/ 10515953 w 209"/>
                <a:gd name="T67" fmla="*/ 373 h 225"/>
                <a:gd name="T68" fmla="*/ 9951369 w 209"/>
                <a:gd name="T69" fmla="*/ 334 h 225"/>
                <a:gd name="T70" fmla="*/ 10174953 w 209"/>
                <a:gd name="T71" fmla="*/ 289 h 225"/>
                <a:gd name="T72" fmla="*/ 10515953 w 209"/>
                <a:gd name="T73" fmla="*/ 274 h 225"/>
                <a:gd name="T74" fmla="*/ 8861789 w 209"/>
                <a:gd name="T75" fmla="*/ 289 h 225"/>
                <a:gd name="T76" fmla="*/ 8463316 w 209"/>
                <a:gd name="T77" fmla="*/ 322 h 225"/>
                <a:gd name="T78" fmla="*/ 7457146 w 209"/>
                <a:gd name="T79" fmla="*/ 334 h 225"/>
                <a:gd name="T80" fmla="*/ 6802947 w 209"/>
                <a:gd name="T81" fmla="*/ 304 h 225"/>
                <a:gd name="T82" fmla="*/ 6802947 w 209"/>
                <a:gd name="T83" fmla="*/ 255 h 225"/>
                <a:gd name="T84" fmla="*/ 6077441 w 209"/>
                <a:gd name="T85" fmla="*/ 246 h 225"/>
                <a:gd name="T86" fmla="*/ 6802947 w 209"/>
                <a:gd name="T87" fmla="*/ 83 h 22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09"/>
                <a:gd name="T133" fmla="*/ 0 h 225"/>
                <a:gd name="T134" fmla="*/ 209 w 209"/>
                <a:gd name="T135" fmla="*/ 225 h 22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09" h="225">
                  <a:moveTo>
                    <a:pt x="119" y="29"/>
                  </a:moveTo>
                  <a:lnTo>
                    <a:pt x="119" y="12"/>
                  </a:lnTo>
                  <a:lnTo>
                    <a:pt x="102" y="0"/>
                  </a:lnTo>
                  <a:lnTo>
                    <a:pt x="78" y="18"/>
                  </a:lnTo>
                  <a:lnTo>
                    <a:pt x="42" y="41"/>
                  </a:lnTo>
                  <a:lnTo>
                    <a:pt x="30" y="47"/>
                  </a:lnTo>
                  <a:lnTo>
                    <a:pt x="6" y="54"/>
                  </a:lnTo>
                  <a:lnTo>
                    <a:pt x="0" y="59"/>
                  </a:lnTo>
                  <a:lnTo>
                    <a:pt x="0" y="65"/>
                  </a:lnTo>
                  <a:lnTo>
                    <a:pt x="19" y="65"/>
                  </a:lnTo>
                  <a:lnTo>
                    <a:pt x="23" y="71"/>
                  </a:lnTo>
                  <a:lnTo>
                    <a:pt x="30" y="95"/>
                  </a:lnTo>
                  <a:lnTo>
                    <a:pt x="19" y="107"/>
                  </a:lnTo>
                  <a:lnTo>
                    <a:pt x="19" y="113"/>
                  </a:lnTo>
                  <a:lnTo>
                    <a:pt x="30" y="119"/>
                  </a:lnTo>
                  <a:lnTo>
                    <a:pt x="23" y="130"/>
                  </a:lnTo>
                  <a:lnTo>
                    <a:pt x="30" y="136"/>
                  </a:lnTo>
                  <a:lnTo>
                    <a:pt x="23" y="149"/>
                  </a:lnTo>
                  <a:lnTo>
                    <a:pt x="30" y="149"/>
                  </a:lnTo>
                  <a:lnTo>
                    <a:pt x="49" y="160"/>
                  </a:lnTo>
                  <a:lnTo>
                    <a:pt x="59" y="179"/>
                  </a:lnTo>
                  <a:lnTo>
                    <a:pt x="83" y="179"/>
                  </a:lnTo>
                  <a:lnTo>
                    <a:pt x="89" y="190"/>
                  </a:lnTo>
                  <a:lnTo>
                    <a:pt x="83" y="208"/>
                  </a:lnTo>
                  <a:lnTo>
                    <a:pt x="102" y="208"/>
                  </a:lnTo>
                  <a:lnTo>
                    <a:pt x="114" y="214"/>
                  </a:lnTo>
                  <a:lnTo>
                    <a:pt x="138" y="225"/>
                  </a:lnTo>
                  <a:lnTo>
                    <a:pt x="155" y="219"/>
                  </a:lnTo>
                  <a:lnTo>
                    <a:pt x="174" y="219"/>
                  </a:lnTo>
                  <a:lnTo>
                    <a:pt x="184" y="202"/>
                  </a:lnTo>
                  <a:lnTo>
                    <a:pt x="203" y="179"/>
                  </a:lnTo>
                  <a:lnTo>
                    <a:pt x="203" y="160"/>
                  </a:lnTo>
                  <a:lnTo>
                    <a:pt x="209" y="155"/>
                  </a:lnTo>
                  <a:lnTo>
                    <a:pt x="184" y="143"/>
                  </a:lnTo>
                  <a:lnTo>
                    <a:pt x="174" y="130"/>
                  </a:lnTo>
                  <a:lnTo>
                    <a:pt x="178" y="113"/>
                  </a:lnTo>
                  <a:lnTo>
                    <a:pt x="184" y="107"/>
                  </a:lnTo>
                  <a:lnTo>
                    <a:pt x="155" y="113"/>
                  </a:lnTo>
                  <a:lnTo>
                    <a:pt x="148" y="126"/>
                  </a:lnTo>
                  <a:lnTo>
                    <a:pt x="131" y="130"/>
                  </a:lnTo>
                  <a:lnTo>
                    <a:pt x="119" y="119"/>
                  </a:lnTo>
                  <a:lnTo>
                    <a:pt x="119" y="100"/>
                  </a:lnTo>
                  <a:lnTo>
                    <a:pt x="106" y="95"/>
                  </a:lnTo>
                  <a:lnTo>
                    <a:pt x="119" y="29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21" name="Freeform 148"/>
            <p:cNvSpPr>
              <a:spLocks/>
            </p:cNvSpPr>
            <p:nvPr/>
          </p:nvSpPr>
          <p:spPr bwMode="auto">
            <a:xfrm>
              <a:off x="2707" y="3210"/>
              <a:ext cx="132" cy="200"/>
            </a:xfrm>
            <a:custGeom>
              <a:avLst/>
              <a:gdLst>
                <a:gd name="T0" fmla="*/ 9705536 w 106"/>
                <a:gd name="T1" fmla="*/ 23 h 197"/>
                <a:gd name="T2" fmla="*/ 12379081 w 106"/>
                <a:gd name="T3" fmla="*/ 103 h 197"/>
                <a:gd name="T4" fmla="*/ 14042021 w 106"/>
                <a:gd name="T5" fmla="*/ 117 h 197"/>
                <a:gd name="T6" fmla="*/ 14750169 w 106"/>
                <a:gd name="T7" fmla="*/ 151 h 197"/>
                <a:gd name="T8" fmla="*/ 13450612 w 106"/>
                <a:gd name="T9" fmla="*/ 216 h 197"/>
                <a:gd name="T10" fmla="*/ 14042021 w 106"/>
                <a:gd name="T11" fmla="*/ 267 h 197"/>
                <a:gd name="T12" fmla="*/ 13450612 w 106"/>
                <a:gd name="T13" fmla="*/ 319 h 197"/>
                <a:gd name="T14" fmla="*/ 9705536 w 106"/>
                <a:gd name="T15" fmla="*/ 364 h 197"/>
                <a:gd name="T16" fmla="*/ 5025920 w 106"/>
                <a:gd name="T17" fmla="*/ 414 h 197"/>
                <a:gd name="T18" fmla="*/ 3241004 w 106"/>
                <a:gd name="T19" fmla="*/ 426 h 197"/>
                <a:gd name="T20" fmla="*/ 0 w 106"/>
                <a:gd name="T21" fmla="*/ 443 h 197"/>
                <a:gd name="T22" fmla="*/ 623719 w 106"/>
                <a:gd name="T23" fmla="*/ 426 h 197"/>
                <a:gd name="T24" fmla="*/ 3241004 w 106"/>
                <a:gd name="T25" fmla="*/ 414 h 197"/>
                <a:gd name="T26" fmla="*/ 4122801 w 106"/>
                <a:gd name="T27" fmla="*/ 402 h 197"/>
                <a:gd name="T28" fmla="*/ 5025920 w 106"/>
                <a:gd name="T29" fmla="*/ 364 h 197"/>
                <a:gd name="T30" fmla="*/ 5839257 w 106"/>
                <a:gd name="T31" fmla="*/ 319 h 197"/>
                <a:gd name="T32" fmla="*/ 6577192 w 106"/>
                <a:gd name="T33" fmla="*/ 291 h 197"/>
                <a:gd name="T34" fmla="*/ 6577192 w 106"/>
                <a:gd name="T35" fmla="*/ 255 h 197"/>
                <a:gd name="T36" fmla="*/ 5839257 w 106"/>
                <a:gd name="T37" fmla="*/ 229 h 197"/>
                <a:gd name="T38" fmla="*/ 4122801 w 106"/>
                <a:gd name="T39" fmla="*/ 216 h 197"/>
                <a:gd name="T40" fmla="*/ 5839257 w 106"/>
                <a:gd name="T41" fmla="*/ 180 h 197"/>
                <a:gd name="T42" fmla="*/ 5839257 w 106"/>
                <a:gd name="T43" fmla="*/ 137 h 197"/>
                <a:gd name="T44" fmla="*/ 4122801 w 106"/>
                <a:gd name="T45" fmla="*/ 95 h 197"/>
                <a:gd name="T46" fmla="*/ 2325937 w 106"/>
                <a:gd name="T47" fmla="*/ 30 h 197"/>
                <a:gd name="T48" fmla="*/ 1499898 w 106"/>
                <a:gd name="T49" fmla="*/ 5 h 197"/>
                <a:gd name="T50" fmla="*/ 3241004 w 106"/>
                <a:gd name="T51" fmla="*/ 0 h 197"/>
                <a:gd name="T52" fmla="*/ 3310735 w 106"/>
                <a:gd name="T53" fmla="*/ 11 h 197"/>
                <a:gd name="T54" fmla="*/ 5839257 w 106"/>
                <a:gd name="T55" fmla="*/ 23 h 197"/>
                <a:gd name="T56" fmla="*/ 9705536 w 106"/>
                <a:gd name="T57" fmla="*/ 23 h 197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06"/>
                <a:gd name="T88" fmla="*/ 0 h 197"/>
                <a:gd name="T89" fmla="*/ 106 w 106"/>
                <a:gd name="T90" fmla="*/ 197 h 197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06" h="197">
                  <a:moveTo>
                    <a:pt x="70" y="23"/>
                  </a:moveTo>
                  <a:lnTo>
                    <a:pt x="89" y="47"/>
                  </a:lnTo>
                  <a:lnTo>
                    <a:pt x="100" y="54"/>
                  </a:lnTo>
                  <a:lnTo>
                    <a:pt x="106" y="71"/>
                  </a:lnTo>
                  <a:lnTo>
                    <a:pt x="96" y="95"/>
                  </a:lnTo>
                  <a:lnTo>
                    <a:pt x="100" y="119"/>
                  </a:lnTo>
                  <a:lnTo>
                    <a:pt x="96" y="143"/>
                  </a:lnTo>
                  <a:lnTo>
                    <a:pt x="70" y="161"/>
                  </a:lnTo>
                  <a:lnTo>
                    <a:pt x="36" y="184"/>
                  </a:lnTo>
                  <a:lnTo>
                    <a:pt x="23" y="190"/>
                  </a:lnTo>
                  <a:lnTo>
                    <a:pt x="0" y="197"/>
                  </a:lnTo>
                  <a:lnTo>
                    <a:pt x="5" y="190"/>
                  </a:lnTo>
                  <a:lnTo>
                    <a:pt x="23" y="184"/>
                  </a:lnTo>
                  <a:lnTo>
                    <a:pt x="30" y="178"/>
                  </a:lnTo>
                  <a:lnTo>
                    <a:pt x="36" y="161"/>
                  </a:lnTo>
                  <a:lnTo>
                    <a:pt x="41" y="143"/>
                  </a:lnTo>
                  <a:lnTo>
                    <a:pt x="47" y="131"/>
                  </a:lnTo>
                  <a:lnTo>
                    <a:pt x="47" y="113"/>
                  </a:lnTo>
                  <a:lnTo>
                    <a:pt x="41" y="100"/>
                  </a:lnTo>
                  <a:lnTo>
                    <a:pt x="30" y="95"/>
                  </a:lnTo>
                  <a:lnTo>
                    <a:pt x="41" y="83"/>
                  </a:lnTo>
                  <a:lnTo>
                    <a:pt x="41" y="64"/>
                  </a:lnTo>
                  <a:lnTo>
                    <a:pt x="30" y="41"/>
                  </a:lnTo>
                  <a:lnTo>
                    <a:pt x="17" y="30"/>
                  </a:lnTo>
                  <a:lnTo>
                    <a:pt x="11" y="5"/>
                  </a:lnTo>
                  <a:lnTo>
                    <a:pt x="23" y="0"/>
                  </a:lnTo>
                  <a:lnTo>
                    <a:pt x="24" y="11"/>
                  </a:lnTo>
                  <a:lnTo>
                    <a:pt x="41" y="23"/>
                  </a:lnTo>
                  <a:lnTo>
                    <a:pt x="70" y="23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22" name="Freeform 149"/>
            <p:cNvSpPr>
              <a:spLocks/>
            </p:cNvSpPr>
            <p:nvPr/>
          </p:nvSpPr>
          <p:spPr bwMode="auto">
            <a:xfrm>
              <a:off x="2876" y="2574"/>
              <a:ext cx="171" cy="344"/>
            </a:xfrm>
            <a:custGeom>
              <a:avLst/>
              <a:gdLst>
                <a:gd name="T0" fmla="*/ 5611344 w 139"/>
                <a:gd name="T1" fmla="*/ 439 h 339"/>
                <a:gd name="T2" fmla="*/ 6173095 w 139"/>
                <a:gd name="T3" fmla="*/ 492 h 339"/>
                <a:gd name="T4" fmla="*/ 6565696 w 139"/>
                <a:gd name="T5" fmla="*/ 537 h 339"/>
                <a:gd name="T6" fmla="*/ 6173095 w 139"/>
                <a:gd name="T7" fmla="*/ 571 h 339"/>
                <a:gd name="T8" fmla="*/ 6876660 w 139"/>
                <a:gd name="T9" fmla="*/ 613 h 339"/>
                <a:gd name="T10" fmla="*/ 7436501 w 139"/>
                <a:gd name="T11" fmla="*/ 651 h 339"/>
                <a:gd name="T12" fmla="*/ 6876660 w 139"/>
                <a:gd name="T13" fmla="*/ 693 h 339"/>
                <a:gd name="T14" fmla="*/ 6876660 w 139"/>
                <a:gd name="T15" fmla="*/ 707 h 339"/>
                <a:gd name="T16" fmla="*/ 6173095 w 139"/>
                <a:gd name="T17" fmla="*/ 730 h 339"/>
                <a:gd name="T18" fmla="*/ 4813979 w 139"/>
                <a:gd name="T19" fmla="*/ 719 h 339"/>
                <a:gd name="T20" fmla="*/ 3544561 w 139"/>
                <a:gd name="T21" fmla="*/ 730 h 339"/>
                <a:gd name="T22" fmla="*/ 1809017 w 139"/>
                <a:gd name="T23" fmla="*/ 746 h 339"/>
                <a:gd name="T24" fmla="*/ 444145 w 139"/>
                <a:gd name="T25" fmla="*/ 719 h 339"/>
                <a:gd name="T26" fmla="*/ 0 w 139"/>
                <a:gd name="T27" fmla="*/ 693 h 339"/>
                <a:gd name="T28" fmla="*/ 444145 w 139"/>
                <a:gd name="T29" fmla="*/ 669 h 339"/>
                <a:gd name="T30" fmla="*/ 1332749 w 139"/>
                <a:gd name="T31" fmla="*/ 626 h 339"/>
                <a:gd name="T32" fmla="*/ 2225481 w 139"/>
                <a:gd name="T33" fmla="*/ 586 h 339"/>
                <a:gd name="T34" fmla="*/ 3052623 w 139"/>
                <a:gd name="T35" fmla="*/ 537 h 339"/>
                <a:gd name="T36" fmla="*/ 3544561 w 139"/>
                <a:gd name="T37" fmla="*/ 452 h 339"/>
                <a:gd name="T38" fmla="*/ 3994158 w 139"/>
                <a:gd name="T39" fmla="*/ 394 h 339"/>
                <a:gd name="T40" fmla="*/ 3544561 w 139"/>
                <a:gd name="T41" fmla="*/ 307 h 339"/>
                <a:gd name="T42" fmla="*/ 3052623 w 139"/>
                <a:gd name="T43" fmla="*/ 259 h 339"/>
                <a:gd name="T44" fmla="*/ 2567748 w 139"/>
                <a:gd name="T45" fmla="*/ 221 h 339"/>
                <a:gd name="T46" fmla="*/ 3052623 w 139"/>
                <a:gd name="T47" fmla="*/ 170 h 339"/>
                <a:gd name="T48" fmla="*/ 3052623 w 139"/>
                <a:gd name="T49" fmla="*/ 136 h 339"/>
                <a:gd name="T50" fmla="*/ 3994158 w 139"/>
                <a:gd name="T51" fmla="*/ 100 h 339"/>
                <a:gd name="T52" fmla="*/ 4813979 w 139"/>
                <a:gd name="T53" fmla="*/ 94 h 339"/>
                <a:gd name="T54" fmla="*/ 5611344 w 139"/>
                <a:gd name="T55" fmla="*/ 29 h 339"/>
                <a:gd name="T56" fmla="*/ 6876660 w 139"/>
                <a:gd name="T57" fmla="*/ 23 h 339"/>
                <a:gd name="T58" fmla="*/ 8703854 w 139"/>
                <a:gd name="T59" fmla="*/ 0 h 339"/>
                <a:gd name="T60" fmla="*/ 9476917 w 139"/>
                <a:gd name="T61" fmla="*/ 0 h 339"/>
                <a:gd name="T62" fmla="*/ 10006185 w 139"/>
                <a:gd name="T63" fmla="*/ 4 h 339"/>
                <a:gd name="T64" fmla="*/ 9476917 w 139"/>
                <a:gd name="T65" fmla="*/ 17 h 339"/>
                <a:gd name="T66" fmla="*/ 8703854 w 139"/>
                <a:gd name="T67" fmla="*/ 29 h 339"/>
                <a:gd name="T68" fmla="*/ 9476917 w 139"/>
                <a:gd name="T69" fmla="*/ 94 h 339"/>
                <a:gd name="T70" fmla="*/ 9134877 w 139"/>
                <a:gd name="T71" fmla="*/ 112 h 339"/>
                <a:gd name="T72" fmla="*/ 7840150 w 139"/>
                <a:gd name="T73" fmla="*/ 124 h 339"/>
                <a:gd name="T74" fmla="*/ 7436501 w 139"/>
                <a:gd name="T75" fmla="*/ 146 h 339"/>
                <a:gd name="T76" fmla="*/ 6565696 w 139"/>
                <a:gd name="T77" fmla="*/ 158 h 339"/>
                <a:gd name="T78" fmla="*/ 5611344 w 139"/>
                <a:gd name="T79" fmla="*/ 158 h 339"/>
                <a:gd name="T80" fmla="*/ 4813979 w 139"/>
                <a:gd name="T81" fmla="*/ 221 h 339"/>
                <a:gd name="T82" fmla="*/ 5611344 w 139"/>
                <a:gd name="T83" fmla="*/ 280 h 339"/>
                <a:gd name="T84" fmla="*/ 6565696 w 139"/>
                <a:gd name="T85" fmla="*/ 280 h 339"/>
                <a:gd name="T86" fmla="*/ 7436501 w 139"/>
                <a:gd name="T87" fmla="*/ 259 h 339"/>
                <a:gd name="T88" fmla="*/ 7840150 w 139"/>
                <a:gd name="T89" fmla="*/ 259 h 339"/>
                <a:gd name="T90" fmla="*/ 7436501 w 139"/>
                <a:gd name="T91" fmla="*/ 280 h 339"/>
                <a:gd name="T92" fmla="*/ 6565696 w 139"/>
                <a:gd name="T93" fmla="*/ 322 h 339"/>
                <a:gd name="T94" fmla="*/ 5611344 w 139"/>
                <a:gd name="T95" fmla="*/ 379 h 339"/>
                <a:gd name="T96" fmla="*/ 5611344 w 139"/>
                <a:gd name="T97" fmla="*/ 439 h 339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139"/>
                <a:gd name="T148" fmla="*/ 0 h 339"/>
                <a:gd name="T149" fmla="*/ 139 w 139"/>
                <a:gd name="T150" fmla="*/ 339 h 339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139" h="339">
                  <a:moveTo>
                    <a:pt x="78" y="201"/>
                  </a:moveTo>
                  <a:lnTo>
                    <a:pt x="85" y="224"/>
                  </a:lnTo>
                  <a:lnTo>
                    <a:pt x="90" y="243"/>
                  </a:lnTo>
                  <a:lnTo>
                    <a:pt x="85" y="260"/>
                  </a:lnTo>
                  <a:lnTo>
                    <a:pt x="95" y="279"/>
                  </a:lnTo>
                  <a:lnTo>
                    <a:pt x="103" y="296"/>
                  </a:lnTo>
                  <a:lnTo>
                    <a:pt x="95" y="314"/>
                  </a:lnTo>
                  <a:lnTo>
                    <a:pt x="95" y="321"/>
                  </a:lnTo>
                  <a:lnTo>
                    <a:pt x="85" y="332"/>
                  </a:lnTo>
                  <a:lnTo>
                    <a:pt x="67" y="327"/>
                  </a:lnTo>
                  <a:lnTo>
                    <a:pt x="49" y="332"/>
                  </a:lnTo>
                  <a:lnTo>
                    <a:pt x="25" y="339"/>
                  </a:lnTo>
                  <a:lnTo>
                    <a:pt x="6" y="327"/>
                  </a:lnTo>
                  <a:lnTo>
                    <a:pt x="0" y="314"/>
                  </a:lnTo>
                  <a:lnTo>
                    <a:pt x="6" y="303"/>
                  </a:lnTo>
                  <a:lnTo>
                    <a:pt x="19" y="285"/>
                  </a:lnTo>
                  <a:lnTo>
                    <a:pt x="31" y="267"/>
                  </a:lnTo>
                  <a:lnTo>
                    <a:pt x="42" y="243"/>
                  </a:lnTo>
                  <a:lnTo>
                    <a:pt x="49" y="207"/>
                  </a:lnTo>
                  <a:lnTo>
                    <a:pt x="55" y="178"/>
                  </a:lnTo>
                  <a:lnTo>
                    <a:pt x="49" y="142"/>
                  </a:lnTo>
                  <a:lnTo>
                    <a:pt x="42" y="118"/>
                  </a:lnTo>
                  <a:lnTo>
                    <a:pt x="36" y="99"/>
                  </a:lnTo>
                  <a:lnTo>
                    <a:pt x="42" y="82"/>
                  </a:lnTo>
                  <a:lnTo>
                    <a:pt x="42" y="65"/>
                  </a:lnTo>
                  <a:lnTo>
                    <a:pt x="55" y="46"/>
                  </a:lnTo>
                  <a:lnTo>
                    <a:pt x="67" y="40"/>
                  </a:lnTo>
                  <a:lnTo>
                    <a:pt x="78" y="29"/>
                  </a:lnTo>
                  <a:lnTo>
                    <a:pt x="95" y="23"/>
                  </a:lnTo>
                  <a:lnTo>
                    <a:pt x="120" y="0"/>
                  </a:lnTo>
                  <a:lnTo>
                    <a:pt x="131" y="0"/>
                  </a:lnTo>
                  <a:lnTo>
                    <a:pt x="139" y="4"/>
                  </a:lnTo>
                  <a:lnTo>
                    <a:pt x="131" y="17"/>
                  </a:lnTo>
                  <a:lnTo>
                    <a:pt x="120" y="29"/>
                  </a:lnTo>
                  <a:lnTo>
                    <a:pt x="131" y="40"/>
                  </a:lnTo>
                  <a:lnTo>
                    <a:pt x="126" y="53"/>
                  </a:lnTo>
                  <a:lnTo>
                    <a:pt x="108" y="59"/>
                  </a:lnTo>
                  <a:lnTo>
                    <a:pt x="103" y="70"/>
                  </a:lnTo>
                  <a:lnTo>
                    <a:pt x="90" y="76"/>
                  </a:lnTo>
                  <a:lnTo>
                    <a:pt x="78" y="76"/>
                  </a:lnTo>
                  <a:lnTo>
                    <a:pt x="67" y="99"/>
                  </a:lnTo>
                  <a:lnTo>
                    <a:pt x="78" y="129"/>
                  </a:lnTo>
                  <a:lnTo>
                    <a:pt x="90" y="129"/>
                  </a:lnTo>
                  <a:lnTo>
                    <a:pt x="103" y="118"/>
                  </a:lnTo>
                  <a:lnTo>
                    <a:pt x="108" y="118"/>
                  </a:lnTo>
                  <a:lnTo>
                    <a:pt x="103" y="129"/>
                  </a:lnTo>
                  <a:lnTo>
                    <a:pt x="90" y="148"/>
                  </a:lnTo>
                  <a:lnTo>
                    <a:pt x="78" y="171"/>
                  </a:lnTo>
                  <a:lnTo>
                    <a:pt x="78" y="201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25" name="Freeform 150"/>
            <p:cNvSpPr>
              <a:spLocks/>
            </p:cNvSpPr>
            <p:nvPr/>
          </p:nvSpPr>
          <p:spPr bwMode="auto">
            <a:xfrm>
              <a:off x="2827" y="3264"/>
              <a:ext cx="131" cy="223"/>
            </a:xfrm>
            <a:custGeom>
              <a:avLst/>
              <a:gdLst>
                <a:gd name="T0" fmla="*/ 216422 w 107"/>
                <a:gd name="T1" fmla="*/ 386 h 220"/>
                <a:gd name="T2" fmla="*/ 892305 w 107"/>
                <a:gd name="T3" fmla="*/ 396 h 220"/>
                <a:gd name="T4" fmla="*/ 967490 w 107"/>
                <a:gd name="T5" fmla="*/ 432 h 220"/>
                <a:gd name="T6" fmla="*/ 1637479 w 107"/>
                <a:gd name="T7" fmla="*/ 454 h 220"/>
                <a:gd name="T8" fmla="*/ 2544741 w 107"/>
                <a:gd name="T9" fmla="*/ 442 h 220"/>
                <a:gd name="T10" fmla="*/ 2966835 w 107"/>
                <a:gd name="T11" fmla="*/ 420 h 220"/>
                <a:gd name="T12" fmla="*/ 4511429 w 107"/>
                <a:gd name="T13" fmla="*/ 408 h 220"/>
                <a:gd name="T14" fmla="*/ 5301093 w 107"/>
                <a:gd name="T15" fmla="*/ 358 h 220"/>
                <a:gd name="T16" fmla="*/ 5955937 w 107"/>
                <a:gd name="T17" fmla="*/ 343 h 220"/>
                <a:gd name="T18" fmla="*/ 5955937 w 107"/>
                <a:gd name="T19" fmla="*/ 281 h 220"/>
                <a:gd name="T20" fmla="*/ 5955937 w 107"/>
                <a:gd name="T21" fmla="*/ 241 h 220"/>
                <a:gd name="T22" fmla="*/ 4954452 w 107"/>
                <a:gd name="T23" fmla="*/ 206 h 220"/>
                <a:gd name="T24" fmla="*/ 5301093 w 107"/>
                <a:gd name="T25" fmla="*/ 163 h 220"/>
                <a:gd name="T26" fmla="*/ 5955937 w 107"/>
                <a:gd name="T27" fmla="*/ 141 h 220"/>
                <a:gd name="T28" fmla="*/ 5955937 w 107"/>
                <a:gd name="T29" fmla="*/ 115 h 220"/>
                <a:gd name="T30" fmla="*/ 5955937 w 107"/>
                <a:gd name="T31" fmla="*/ 96 h 220"/>
                <a:gd name="T32" fmla="*/ 4954452 w 107"/>
                <a:gd name="T33" fmla="*/ 96 h 220"/>
                <a:gd name="T34" fmla="*/ 4227032 w 107"/>
                <a:gd name="T35" fmla="*/ 34 h 220"/>
                <a:gd name="T36" fmla="*/ 4227032 w 107"/>
                <a:gd name="T37" fmla="*/ 23 h 220"/>
                <a:gd name="T38" fmla="*/ 3973517 w 107"/>
                <a:gd name="T39" fmla="*/ 6 h 220"/>
                <a:gd name="T40" fmla="*/ 3632292 w 107"/>
                <a:gd name="T41" fmla="*/ 0 h 220"/>
                <a:gd name="T42" fmla="*/ 2966835 w 107"/>
                <a:gd name="T43" fmla="*/ 0 h 220"/>
                <a:gd name="T44" fmla="*/ 2205188 w 107"/>
                <a:gd name="T45" fmla="*/ 6 h 220"/>
                <a:gd name="T46" fmla="*/ 1255193 w 107"/>
                <a:gd name="T47" fmla="*/ 18 h 220"/>
                <a:gd name="T48" fmla="*/ 654818 w 107"/>
                <a:gd name="T49" fmla="*/ 18 h 220"/>
                <a:gd name="T50" fmla="*/ 0 w 107"/>
                <a:gd name="T51" fmla="*/ 96 h 220"/>
                <a:gd name="T52" fmla="*/ 216422 w 107"/>
                <a:gd name="T53" fmla="*/ 127 h 220"/>
                <a:gd name="T54" fmla="*/ 0 w 107"/>
                <a:gd name="T55" fmla="*/ 178 h 220"/>
                <a:gd name="T56" fmla="*/ 892305 w 107"/>
                <a:gd name="T57" fmla="*/ 206 h 220"/>
                <a:gd name="T58" fmla="*/ 967490 w 107"/>
                <a:gd name="T59" fmla="*/ 248 h 220"/>
                <a:gd name="T60" fmla="*/ 216422 w 107"/>
                <a:gd name="T61" fmla="*/ 386 h 22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7"/>
                <a:gd name="T94" fmla="*/ 0 h 220"/>
                <a:gd name="T95" fmla="*/ 107 w 107"/>
                <a:gd name="T96" fmla="*/ 220 h 22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7" h="220">
                  <a:moveTo>
                    <a:pt x="4" y="184"/>
                  </a:moveTo>
                  <a:lnTo>
                    <a:pt x="16" y="190"/>
                  </a:lnTo>
                  <a:lnTo>
                    <a:pt x="17" y="209"/>
                  </a:lnTo>
                  <a:lnTo>
                    <a:pt x="29" y="220"/>
                  </a:lnTo>
                  <a:lnTo>
                    <a:pt x="46" y="214"/>
                  </a:lnTo>
                  <a:lnTo>
                    <a:pt x="53" y="203"/>
                  </a:lnTo>
                  <a:lnTo>
                    <a:pt x="82" y="197"/>
                  </a:lnTo>
                  <a:lnTo>
                    <a:pt x="95" y="173"/>
                  </a:lnTo>
                  <a:lnTo>
                    <a:pt x="107" y="167"/>
                  </a:lnTo>
                  <a:lnTo>
                    <a:pt x="107" y="137"/>
                  </a:lnTo>
                  <a:lnTo>
                    <a:pt x="107" y="114"/>
                  </a:lnTo>
                  <a:lnTo>
                    <a:pt x="89" y="101"/>
                  </a:lnTo>
                  <a:lnTo>
                    <a:pt x="95" y="83"/>
                  </a:lnTo>
                  <a:lnTo>
                    <a:pt x="107" y="72"/>
                  </a:lnTo>
                  <a:lnTo>
                    <a:pt x="107" y="59"/>
                  </a:lnTo>
                  <a:lnTo>
                    <a:pt x="107" y="42"/>
                  </a:lnTo>
                  <a:lnTo>
                    <a:pt x="89" y="42"/>
                  </a:lnTo>
                  <a:lnTo>
                    <a:pt x="76" y="34"/>
                  </a:lnTo>
                  <a:lnTo>
                    <a:pt x="76" y="23"/>
                  </a:lnTo>
                  <a:lnTo>
                    <a:pt x="71" y="6"/>
                  </a:lnTo>
                  <a:lnTo>
                    <a:pt x="65" y="0"/>
                  </a:lnTo>
                  <a:lnTo>
                    <a:pt x="53" y="0"/>
                  </a:lnTo>
                  <a:lnTo>
                    <a:pt x="40" y="6"/>
                  </a:lnTo>
                  <a:lnTo>
                    <a:pt x="23" y="18"/>
                  </a:lnTo>
                  <a:lnTo>
                    <a:pt x="12" y="18"/>
                  </a:lnTo>
                  <a:lnTo>
                    <a:pt x="0" y="42"/>
                  </a:lnTo>
                  <a:lnTo>
                    <a:pt x="4" y="65"/>
                  </a:lnTo>
                  <a:lnTo>
                    <a:pt x="0" y="90"/>
                  </a:lnTo>
                  <a:lnTo>
                    <a:pt x="16" y="101"/>
                  </a:lnTo>
                  <a:lnTo>
                    <a:pt x="17" y="119"/>
                  </a:lnTo>
                  <a:lnTo>
                    <a:pt x="4" y="184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26" name="Freeform 151"/>
            <p:cNvSpPr>
              <a:spLocks/>
            </p:cNvSpPr>
            <p:nvPr/>
          </p:nvSpPr>
          <p:spPr bwMode="auto">
            <a:xfrm>
              <a:off x="2584" y="3064"/>
              <a:ext cx="307" cy="218"/>
            </a:xfrm>
            <a:custGeom>
              <a:avLst/>
              <a:gdLst>
                <a:gd name="T0" fmla="*/ 13181707 w 250"/>
                <a:gd name="T1" fmla="*/ 256 h 214"/>
                <a:gd name="T2" fmla="*/ 12908620 w 250"/>
                <a:gd name="T3" fmla="*/ 286 h 214"/>
                <a:gd name="T4" fmla="*/ 13181707 w 250"/>
                <a:gd name="T5" fmla="*/ 357 h 214"/>
                <a:gd name="T6" fmla="*/ 13572624 w 250"/>
                <a:gd name="T7" fmla="*/ 434 h 214"/>
                <a:gd name="T8" fmla="*/ 14079758 w 250"/>
                <a:gd name="T9" fmla="*/ 485 h 214"/>
                <a:gd name="T10" fmla="*/ 16406818 w 250"/>
                <a:gd name="T11" fmla="*/ 500 h 214"/>
                <a:gd name="T12" fmla="*/ 16406818 w 250"/>
                <a:gd name="T13" fmla="*/ 532 h 214"/>
                <a:gd name="T14" fmla="*/ 15527806 w 250"/>
                <a:gd name="T15" fmla="*/ 549 h 214"/>
                <a:gd name="T16" fmla="*/ 14422960 w 250"/>
                <a:gd name="T17" fmla="*/ 580 h 214"/>
                <a:gd name="T18" fmla="*/ 13572624 w 250"/>
                <a:gd name="T19" fmla="*/ 580 h 214"/>
                <a:gd name="T20" fmla="*/ 13181707 w 250"/>
                <a:gd name="T21" fmla="*/ 549 h 214"/>
                <a:gd name="T22" fmla="*/ 13181707 w 250"/>
                <a:gd name="T23" fmla="*/ 532 h 214"/>
                <a:gd name="T24" fmla="*/ 12424729 w 250"/>
                <a:gd name="T25" fmla="*/ 519 h 214"/>
                <a:gd name="T26" fmla="*/ 11226683 w 250"/>
                <a:gd name="T27" fmla="*/ 447 h 214"/>
                <a:gd name="T28" fmla="*/ 9336808 w 250"/>
                <a:gd name="T29" fmla="*/ 447 h 214"/>
                <a:gd name="T30" fmla="*/ 8217929 w 250"/>
                <a:gd name="T31" fmla="*/ 415 h 214"/>
                <a:gd name="T32" fmla="*/ 8120990 w 250"/>
                <a:gd name="T33" fmla="*/ 388 h 214"/>
                <a:gd name="T34" fmla="*/ 7740517 w 250"/>
                <a:gd name="T35" fmla="*/ 357 h 214"/>
                <a:gd name="T36" fmla="*/ 6613184 w 250"/>
                <a:gd name="T37" fmla="*/ 357 h 214"/>
                <a:gd name="T38" fmla="*/ 4949712 w 250"/>
                <a:gd name="T39" fmla="*/ 317 h 214"/>
                <a:gd name="T40" fmla="*/ 2789127 w 250"/>
                <a:gd name="T41" fmla="*/ 286 h 214"/>
                <a:gd name="T42" fmla="*/ 1226520 w 250"/>
                <a:gd name="T43" fmla="*/ 271 h 214"/>
                <a:gd name="T44" fmla="*/ 1226520 w 250"/>
                <a:gd name="T45" fmla="*/ 205 h 214"/>
                <a:gd name="T46" fmla="*/ 1903023 w 250"/>
                <a:gd name="T47" fmla="*/ 241 h 214"/>
                <a:gd name="T48" fmla="*/ 2336912 w 250"/>
                <a:gd name="T49" fmla="*/ 186 h 214"/>
                <a:gd name="T50" fmla="*/ 2271276 w 250"/>
                <a:gd name="T51" fmla="*/ 133 h 214"/>
                <a:gd name="T52" fmla="*/ 0 w 250"/>
                <a:gd name="T53" fmla="*/ 121 h 214"/>
                <a:gd name="T54" fmla="*/ 400917 w 250"/>
                <a:gd name="T55" fmla="*/ 85 h 214"/>
                <a:gd name="T56" fmla="*/ 1903023 w 250"/>
                <a:gd name="T57" fmla="*/ 23 h 214"/>
                <a:gd name="T58" fmla="*/ 3073061 w 250"/>
                <a:gd name="T59" fmla="*/ 6 h 214"/>
                <a:gd name="T60" fmla="*/ 3839161 w 250"/>
                <a:gd name="T61" fmla="*/ 0 h 214"/>
                <a:gd name="T62" fmla="*/ 4949712 w 250"/>
                <a:gd name="T63" fmla="*/ 0 h 214"/>
                <a:gd name="T64" fmla="*/ 4714489 w 250"/>
                <a:gd name="T65" fmla="*/ 17 h 214"/>
                <a:gd name="T66" fmla="*/ 4245410 w 250"/>
                <a:gd name="T67" fmla="*/ 99 h 214"/>
                <a:gd name="T68" fmla="*/ 3457174 w 250"/>
                <a:gd name="T69" fmla="*/ 131 h 214"/>
                <a:gd name="T70" fmla="*/ 4949712 w 250"/>
                <a:gd name="T71" fmla="*/ 121 h 214"/>
                <a:gd name="T72" fmla="*/ 4949712 w 250"/>
                <a:gd name="T73" fmla="*/ 133 h 214"/>
                <a:gd name="T74" fmla="*/ 6265773 w 250"/>
                <a:gd name="T75" fmla="*/ 131 h 214"/>
                <a:gd name="T76" fmla="*/ 5853214 w 250"/>
                <a:gd name="T77" fmla="*/ 186 h 214"/>
                <a:gd name="T78" fmla="*/ 6946040 w 250"/>
                <a:gd name="T79" fmla="*/ 150 h 214"/>
                <a:gd name="T80" fmla="*/ 6946040 w 250"/>
                <a:gd name="T81" fmla="*/ 107 h 214"/>
                <a:gd name="T82" fmla="*/ 8120990 w 250"/>
                <a:gd name="T83" fmla="*/ 99 h 214"/>
                <a:gd name="T84" fmla="*/ 7740517 w 250"/>
                <a:gd name="T85" fmla="*/ 121 h 214"/>
                <a:gd name="T86" fmla="*/ 7740517 w 250"/>
                <a:gd name="T87" fmla="*/ 133 h 214"/>
                <a:gd name="T88" fmla="*/ 8217929 w 250"/>
                <a:gd name="T89" fmla="*/ 131 h 214"/>
                <a:gd name="T90" fmla="*/ 8581490 w 250"/>
                <a:gd name="T91" fmla="*/ 133 h 214"/>
                <a:gd name="T92" fmla="*/ 9697158 w 250"/>
                <a:gd name="T93" fmla="*/ 168 h 214"/>
                <a:gd name="T94" fmla="*/ 12084514 w 250"/>
                <a:gd name="T95" fmla="*/ 168 h 214"/>
                <a:gd name="T96" fmla="*/ 13181707 w 250"/>
                <a:gd name="T97" fmla="*/ 256 h 214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50"/>
                <a:gd name="T148" fmla="*/ 0 h 214"/>
                <a:gd name="T149" fmla="*/ 250 w 250"/>
                <a:gd name="T150" fmla="*/ 214 h 214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50" h="214">
                  <a:moveTo>
                    <a:pt x="201" y="95"/>
                  </a:moveTo>
                  <a:lnTo>
                    <a:pt x="197" y="107"/>
                  </a:lnTo>
                  <a:lnTo>
                    <a:pt x="201" y="131"/>
                  </a:lnTo>
                  <a:lnTo>
                    <a:pt x="207" y="161"/>
                  </a:lnTo>
                  <a:lnTo>
                    <a:pt x="214" y="179"/>
                  </a:lnTo>
                  <a:lnTo>
                    <a:pt x="250" y="184"/>
                  </a:lnTo>
                  <a:lnTo>
                    <a:pt x="250" y="196"/>
                  </a:lnTo>
                  <a:lnTo>
                    <a:pt x="237" y="202"/>
                  </a:lnTo>
                  <a:lnTo>
                    <a:pt x="220" y="214"/>
                  </a:lnTo>
                  <a:lnTo>
                    <a:pt x="207" y="214"/>
                  </a:lnTo>
                  <a:lnTo>
                    <a:pt x="201" y="202"/>
                  </a:lnTo>
                  <a:lnTo>
                    <a:pt x="201" y="196"/>
                  </a:lnTo>
                  <a:lnTo>
                    <a:pt x="190" y="190"/>
                  </a:lnTo>
                  <a:lnTo>
                    <a:pt x="171" y="166"/>
                  </a:lnTo>
                  <a:lnTo>
                    <a:pt x="142" y="166"/>
                  </a:lnTo>
                  <a:lnTo>
                    <a:pt x="125" y="154"/>
                  </a:lnTo>
                  <a:lnTo>
                    <a:pt x="124" y="143"/>
                  </a:lnTo>
                  <a:lnTo>
                    <a:pt x="118" y="131"/>
                  </a:lnTo>
                  <a:lnTo>
                    <a:pt x="101" y="131"/>
                  </a:lnTo>
                  <a:lnTo>
                    <a:pt x="76" y="118"/>
                  </a:lnTo>
                  <a:lnTo>
                    <a:pt x="42" y="107"/>
                  </a:lnTo>
                  <a:lnTo>
                    <a:pt x="19" y="101"/>
                  </a:lnTo>
                  <a:lnTo>
                    <a:pt x="19" y="76"/>
                  </a:lnTo>
                  <a:lnTo>
                    <a:pt x="29" y="89"/>
                  </a:lnTo>
                  <a:lnTo>
                    <a:pt x="36" y="71"/>
                  </a:lnTo>
                  <a:lnTo>
                    <a:pt x="34" y="53"/>
                  </a:lnTo>
                  <a:lnTo>
                    <a:pt x="0" y="47"/>
                  </a:lnTo>
                  <a:lnTo>
                    <a:pt x="6" y="29"/>
                  </a:lnTo>
                  <a:lnTo>
                    <a:pt x="29" y="23"/>
                  </a:lnTo>
                  <a:lnTo>
                    <a:pt x="47" y="6"/>
                  </a:lnTo>
                  <a:lnTo>
                    <a:pt x="59" y="0"/>
                  </a:lnTo>
                  <a:lnTo>
                    <a:pt x="76" y="0"/>
                  </a:lnTo>
                  <a:lnTo>
                    <a:pt x="72" y="17"/>
                  </a:lnTo>
                  <a:lnTo>
                    <a:pt x="65" y="36"/>
                  </a:lnTo>
                  <a:lnTo>
                    <a:pt x="53" y="52"/>
                  </a:lnTo>
                  <a:lnTo>
                    <a:pt x="76" y="47"/>
                  </a:lnTo>
                  <a:lnTo>
                    <a:pt x="76" y="53"/>
                  </a:lnTo>
                  <a:lnTo>
                    <a:pt x="95" y="52"/>
                  </a:lnTo>
                  <a:lnTo>
                    <a:pt x="89" y="71"/>
                  </a:lnTo>
                  <a:lnTo>
                    <a:pt x="106" y="59"/>
                  </a:lnTo>
                  <a:lnTo>
                    <a:pt x="106" y="40"/>
                  </a:lnTo>
                  <a:lnTo>
                    <a:pt x="124" y="36"/>
                  </a:lnTo>
                  <a:lnTo>
                    <a:pt x="118" y="47"/>
                  </a:lnTo>
                  <a:lnTo>
                    <a:pt x="118" y="53"/>
                  </a:lnTo>
                  <a:lnTo>
                    <a:pt x="125" y="52"/>
                  </a:lnTo>
                  <a:lnTo>
                    <a:pt x="131" y="53"/>
                  </a:lnTo>
                  <a:lnTo>
                    <a:pt x="148" y="65"/>
                  </a:lnTo>
                  <a:lnTo>
                    <a:pt x="184" y="65"/>
                  </a:lnTo>
                  <a:lnTo>
                    <a:pt x="201" y="95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27" name="Freeform 152"/>
            <p:cNvSpPr>
              <a:spLocks/>
            </p:cNvSpPr>
            <p:nvPr/>
          </p:nvSpPr>
          <p:spPr bwMode="auto">
            <a:xfrm>
              <a:off x="2473" y="3094"/>
              <a:ext cx="285" cy="236"/>
            </a:xfrm>
            <a:custGeom>
              <a:avLst/>
              <a:gdLst>
                <a:gd name="T0" fmla="*/ 931077 w 231"/>
                <a:gd name="T1" fmla="*/ 127 h 232"/>
                <a:gd name="T2" fmla="*/ 2369639 w 231"/>
                <a:gd name="T3" fmla="*/ 209 h 232"/>
                <a:gd name="T4" fmla="*/ 3010906 w 231"/>
                <a:gd name="T5" fmla="*/ 255 h 232"/>
                <a:gd name="T6" fmla="*/ 2369639 w 231"/>
                <a:gd name="T7" fmla="*/ 283 h 232"/>
                <a:gd name="T8" fmla="*/ 1417266 w 231"/>
                <a:gd name="T9" fmla="*/ 263 h 232"/>
                <a:gd name="T10" fmla="*/ 931077 w 231"/>
                <a:gd name="T11" fmla="*/ 329 h 232"/>
                <a:gd name="T12" fmla="*/ 401840 w 231"/>
                <a:gd name="T13" fmla="*/ 405 h 232"/>
                <a:gd name="T14" fmla="*/ 0 w 231"/>
                <a:gd name="T15" fmla="*/ 445 h 232"/>
                <a:gd name="T16" fmla="*/ 401840 w 231"/>
                <a:gd name="T17" fmla="*/ 514 h 232"/>
                <a:gd name="T18" fmla="*/ 1417266 w 231"/>
                <a:gd name="T19" fmla="*/ 539 h 232"/>
                <a:gd name="T20" fmla="*/ 1920655 w 231"/>
                <a:gd name="T21" fmla="*/ 583 h 232"/>
                <a:gd name="T22" fmla="*/ 3010906 w 231"/>
                <a:gd name="T23" fmla="*/ 569 h 232"/>
                <a:gd name="T24" fmla="*/ 4450212 w 231"/>
                <a:gd name="T25" fmla="*/ 555 h 232"/>
                <a:gd name="T26" fmla="*/ 6118948 w 231"/>
                <a:gd name="T27" fmla="*/ 555 h 232"/>
                <a:gd name="T28" fmla="*/ 8456525 w 231"/>
                <a:gd name="T29" fmla="*/ 539 h 232"/>
                <a:gd name="T30" fmla="*/ 10433371 w 231"/>
                <a:gd name="T31" fmla="*/ 539 h 232"/>
                <a:gd name="T32" fmla="*/ 11973910 w 231"/>
                <a:gd name="T33" fmla="*/ 569 h 232"/>
                <a:gd name="T34" fmla="*/ 14008736 w 231"/>
                <a:gd name="T35" fmla="*/ 583 h 232"/>
                <a:gd name="T36" fmla="*/ 15542633 w 231"/>
                <a:gd name="T37" fmla="*/ 583 h 232"/>
                <a:gd name="T38" fmla="*/ 16979249 w 231"/>
                <a:gd name="T39" fmla="*/ 539 h 232"/>
                <a:gd name="T40" fmla="*/ 17987641 w 231"/>
                <a:gd name="T41" fmla="*/ 528 h 232"/>
                <a:gd name="T42" fmla="*/ 19054917 w 231"/>
                <a:gd name="T43" fmla="*/ 528 h 232"/>
                <a:gd name="T44" fmla="*/ 19054917 w 231"/>
                <a:gd name="T45" fmla="*/ 514 h 232"/>
                <a:gd name="T46" fmla="*/ 19489114 w 231"/>
                <a:gd name="T47" fmla="*/ 496 h 232"/>
                <a:gd name="T48" fmla="*/ 19489114 w 231"/>
                <a:gd name="T49" fmla="*/ 445 h 232"/>
                <a:gd name="T50" fmla="*/ 18526668 w 231"/>
                <a:gd name="T51" fmla="*/ 391 h 232"/>
                <a:gd name="T52" fmla="*/ 17492062 w 231"/>
                <a:gd name="T53" fmla="*/ 359 h 232"/>
                <a:gd name="T54" fmla="*/ 16979249 w 231"/>
                <a:gd name="T55" fmla="*/ 296 h 232"/>
                <a:gd name="T56" fmla="*/ 17987641 w 231"/>
                <a:gd name="T57" fmla="*/ 283 h 232"/>
                <a:gd name="T58" fmla="*/ 17492062 w 231"/>
                <a:gd name="T59" fmla="*/ 255 h 232"/>
                <a:gd name="T60" fmla="*/ 16038221 w 231"/>
                <a:gd name="T61" fmla="*/ 255 h 232"/>
                <a:gd name="T62" fmla="*/ 14008736 w 231"/>
                <a:gd name="T63" fmla="*/ 229 h 232"/>
                <a:gd name="T64" fmla="*/ 11105596 w 231"/>
                <a:gd name="T65" fmla="*/ 193 h 232"/>
                <a:gd name="T66" fmla="*/ 9001376 w 231"/>
                <a:gd name="T67" fmla="*/ 175 h 232"/>
                <a:gd name="T68" fmla="*/ 9001376 w 231"/>
                <a:gd name="T69" fmla="*/ 115 h 232"/>
                <a:gd name="T70" fmla="*/ 9973786 w 231"/>
                <a:gd name="T71" fmla="*/ 141 h 232"/>
                <a:gd name="T72" fmla="*/ 10536366 w 231"/>
                <a:gd name="T73" fmla="*/ 105 h 232"/>
                <a:gd name="T74" fmla="*/ 10433371 w 231"/>
                <a:gd name="T75" fmla="*/ 24 h 232"/>
                <a:gd name="T76" fmla="*/ 7549352 w 231"/>
                <a:gd name="T77" fmla="*/ 18 h 232"/>
                <a:gd name="T78" fmla="*/ 7995876 w 231"/>
                <a:gd name="T79" fmla="*/ 0 h 232"/>
                <a:gd name="T80" fmla="*/ 5402693 w 231"/>
                <a:gd name="T81" fmla="*/ 7 h 232"/>
                <a:gd name="T82" fmla="*/ 2876813 w 231"/>
                <a:gd name="T83" fmla="*/ 11 h 232"/>
                <a:gd name="T84" fmla="*/ 931077 w 231"/>
                <a:gd name="T85" fmla="*/ 24 h 232"/>
                <a:gd name="T86" fmla="*/ 931077 w 231"/>
                <a:gd name="T87" fmla="*/ 127 h 232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31"/>
                <a:gd name="T133" fmla="*/ 0 h 232"/>
                <a:gd name="T134" fmla="*/ 231 w 231"/>
                <a:gd name="T135" fmla="*/ 232 h 232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31" h="232">
                  <a:moveTo>
                    <a:pt x="11" y="53"/>
                  </a:moveTo>
                  <a:lnTo>
                    <a:pt x="28" y="83"/>
                  </a:lnTo>
                  <a:lnTo>
                    <a:pt x="36" y="102"/>
                  </a:lnTo>
                  <a:lnTo>
                    <a:pt x="28" y="114"/>
                  </a:lnTo>
                  <a:lnTo>
                    <a:pt x="17" y="106"/>
                  </a:lnTo>
                  <a:lnTo>
                    <a:pt x="11" y="132"/>
                  </a:lnTo>
                  <a:lnTo>
                    <a:pt x="5" y="161"/>
                  </a:lnTo>
                  <a:lnTo>
                    <a:pt x="0" y="178"/>
                  </a:lnTo>
                  <a:lnTo>
                    <a:pt x="5" y="203"/>
                  </a:lnTo>
                  <a:lnTo>
                    <a:pt x="17" y="214"/>
                  </a:lnTo>
                  <a:lnTo>
                    <a:pt x="23" y="232"/>
                  </a:lnTo>
                  <a:lnTo>
                    <a:pt x="36" y="227"/>
                  </a:lnTo>
                  <a:lnTo>
                    <a:pt x="53" y="221"/>
                  </a:lnTo>
                  <a:lnTo>
                    <a:pt x="72" y="221"/>
                  </a:lnTo>
                  <a:lnTo>
                    <a:pt x="100" y="214"/>
                  </a:lnTo>
                  <a:lnTo>
                    <a:pt x="123" y="214"/>
                  </a:lnTo>
                  <a:lnTo>
                    <a:pt x="142" y="227"/>
                  </a:lnTo>
                  <a:lnTo>
                    <a:pt x="165" y="232"/>
                  </a:lnTo>
                  <a:lnTo>
                    <a:pt x="184" y="232"/>
                  </a:lnTo>
                  <a:lnTo>
                    <a:pt x="201" y="214"/>
                  </a:lnTo>
                  <a:lnTo>
                    <a:pt x="213" y="209"/>
                  </a:lnTo>
                  <a:lnTo>
                    <a:pt x="226" y="209"/>
                  </a:lnTo>
                  <a:lnTo>
                    <a:pt x="226" y="203"/>
                  </a:lnTo>
                  <a:lnTo>
                    <a:pt x="231" y="197"/>
                  </a:lnTo>
                  <a:lnTo>
                    <a:pt x="231" y="178"/>
                  </a:lnTo>
                  <a:lnTo>
                    <a:pt x="220" y="155"/>
                  </a:lnTo>
                  <a:lnTo>
                    <a:pt x="207" y="142"/>
                  </a:lnTo>
                  <a:lnTo>
                    <a:pt x="201" y="119"/>
                  </a:lnTo>
                  <a:lnTo>
                    <a:pt x="213" y="114"/>
                  </a:lnTo>
                  <a:lnTo>
                    <a:pt x="207" y="102"/>
                  </a:lnTo>
                  <a:lnTo>
                    <a:pt x="190" y="102"/>
                  </a:lnTo>
                  <a:lnTo>
                    <a:pt x="165" y="89"/>
                  </a:lnTo>
                  <a:lnTo>
                    <a:pt x="131" y="78"/>
                  </a:lnTo>
                  <a:lnTo>
                    <a:pt x="106" y="72"/>
                  </a:lnTo>
                  <a:lnTo>
                    <a:pt x="106" y="47"/>
                  </a:lnTo>
                  <a:lnTo>
                    <a:pt x="118" y="60"/>
                  </a:lnTo>
                  <a:lnTo>
                    <a:pt x="125" y="42"/>
                  </a:lnTo>
                  <a:lnTo>
                    <a:pt x="123" y="24"/>
                  </a:lnTo>
                  <a:lnTo>
                    <a:pt x="89" y="18"/>
                  </a:lnTo>
                  <a:lnTo>
                    <a:pt x="95" y="0"/>
                  </a:lnTo>
                  <a:lnTo>
                    <a:pt x="64" y="7"/>
                  </a:lnTo>
                  <a:lnTo>
                    <a:pt x="34" y="11"/>
                  </a:lnTo>
                  <a:lnTo>
                    <a:pt x="11" y="24"/>
                  </a:lnTo>
                  <a:lnTo>
                    <a:pt x="11" y="53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35" name="Freeform 153"/>
            <p:cNvSpPr>
              <a:spLocks/>
            </p:cNvSpPr>
            <p:nvPr/>
          </p:nvSpPr>
          <p:spPr bwMode="auto">
            <a:xfrm>
              <a:off x="2190" y="3119"/>
              <a:ext cx="329" cy="169"/>
            </a:xfrm>
            <a:custGeom>
              <a:avLst/>
              <a:gdLst>
                <a:gd name="T0" fmla="*/ 34673822 w 264"/>
                <a:gd name="T1" fmla="*/ 29 h 167"/>
                <a:gd name="T2" fmla="*/ 37193084 w 264"/>
                <a:gd name="T3" fmla="*/ 113 h 167"/>
                <a:gd name="T4" fmla="*/ 38340177 w 264"/>
                <a:gd name="T5" fmla="*/ 138 h 167"/>
                <a:gd name="T6" fmla="*/ 37193084 w 264"/>
                <a:gd name="T7" fmla="*/ 162 h 167"/>
                <a:gd name="T8" fmla="*/ 35602220 w 264"/>
                <a:gd name="T9" fmla="*/ 150 h 167"/>
                <a:gd name="T10" fmla="*/ 33751267 w 264"/>
                <a:gd name="T11" fmla="*/ 162 h 167"/>
                <a:gd name="T12" fmla="*/ 31223810 w 264"/>
                <a:gd name="T13" fmla="*/ 172 h 167"/>
                <a:gd name="T14" fmla="*/ 28679704 w 264"/>
                <a:gd name="T15" fmla="*/ 198 h 167"/>
                <a:gd name="T16" fmla="*/ 27073308 w 264"/>
                <a:gd name="T17" fmla="*/ 184 h 167"/>
                <a:gd name="T18" fmla="*/ 27823388 w 264"/>
                <a:gd name="T19" fmla="*/ 162 h 167"/>
                <a:gd name="T20" fmla="*/ 25237010 w 264"/>
                <a:gd name="T21" fmla="*/ 138 h 167"/>
                <a:gd name="T22" fmla="*/ 22627304 w 264"/>
                <a:gd name="T23" fmla="*/ 138 h 167"/>
                <a:gd name="T24" fmla="*/ 20806534 w 264"/>
                <a:gd name="T25" fmla="*/ 162 h 167"/>
                <a:gd name="T26" fmla="*/ 18156869 w 264"/>
                <a:gd name="T27" fmla="*/ 172 h 167"/>
                <a:gd name="T28" fmla="*/ 16529266 w 264"/>
                <a:gd name="T29" fmla="*/ 162 h 167"/>
                <a:gd name="T30" fmla="*/ 13719289 w 264"/>
                <a:gd name="T31" fmla="*/ 162 h 167"/>
                <a:gd name="T32" fmla="*/ 12220276 w 264"/>
                <a:gd name="T33" fmla="*/ 208 h 167"/>
                <a:gd name="T34" fmla="*/ 11335107 w 264"/>
                <a:gd name="T35" fmla="*/ 254 h 167"/>
                <a:gd name="T36" fmla="*/ 7088529 w 264"/>
                <a:gd name="T37" fmla="*/ 263 h 167"/>
                <a:gd name="T38" fmla="*/ 9541477 w 264"/>
                <a:gd name="T39" fmla="*/ 301 h 167"/>
                <a:gd name="T40" fmla="*/ 6083618 w 264"/>
                <a:gd name="T41" fmla="*/ 313 h 167"/>
                <a:gd name="T42" fmla="*/ 2737185 w 264"/>
                <a:gd name="T43" fmla="*/ 301 h 167"/>
                <a:gd name="T44" fmla="*/ 0 w 264"/>
                <a:gd name="T45" fmla="*/ 301 h 167"/>
                <a:gd name="T46" fmla="*/ 1892368 w 264"/>
                <a:gd name="T47" fmla="*/ 254 h 167"/>
                <a:gd name="T48" fmla="*/ 4250968 w 264"/>
                <a:gd name="T49" fmla="*/ 228 h 167"/>
                <a:gd name="T50" fmla="*/ 5204557 w 264"/>
                <a:gd name="T51" fmla="*/ 184 h 167"/>
                <a:gd name="T52" fmla="*/ 3662527 w 264"/>
                <a:gd name="T53" fmla="*/ 162 h 167"/>
                <a:gd name="T54" fmla="*/ 4250968 w 264"/>
                <a:gd name="T55" fmla="*/ 138 h 167"/>
                <a:gd name="T56" fmla="*/ 7088529 w 264"/>
                <a:gd name="T57" fmla="*/ 138 h 167"/>
                <a:gd name="T58" fmla="*/ 10463347 w 264"/>
                <a:gd name="T59" fmla="*/ 113 h 167"/>
                <a:gd name="T60" fmla="*/ 12220276 w 264"/>
                <a:gd name="T61" fmla="*/ 109 h 167"/>
                <a:gd name="T62" fmla="*/ 16529266 w 264"/>
                <a:gd name="T63" fmla="*/ 109 h 167"/>
                <a:gd name="T64" fmla="*/ 20806534 w 264"/>
                <a:gd name="T65" fmla="*/ 102 h 167"/>
                <a:gd name="T66" fmla="*/ 25237010 w 264"/>
                <a:gd name="T67" fmla="*/ 96 h 167"/>
                <a:gd name="T68" fmla="*/ 29474608 w 264"/>
                <a:gd name="T69" fmla="*/ 23 h 167"/>
                <a:gd name="T70" fmla="*/ 34673822 w 264"/>
                <a:gd name="T71" fmla="*/ 0 h 167"/>
                <a:gd name="T72" fmla="*/ 34673822 w 264"/>
                <a:gd name="T73" fmla="*/ 29 h 167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64"/>
                <a:gd name="T112" fmla="*/ 0 h 167"/>
                <a:gd name="T113" fmla="*/ 264 w 264"/>
                <a:gd name="T114" fmla="*/ 167 h 167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64" h="167">
                  <a:moveTo>
                    <a:pt x="239" y="29"/>
                  </a:moveTo>
                  <a:lnTo>
                    <a:pt x="256" y="59"/>
                  </a:lnTo>
                  <a:lnTo>
                    <a:pt x="264" y="78"/>
                  </a:lnTo>
                  <a:lnTo>
                    <a:pt x="256" y="90"/>
                  </a:lnTo>
                  <a:lnTo>
                    <a:pt x="245" y="84"/>
                  </a:lnTo>
                  <a:lnTo>
                    <a:pt x="233" y="90"/>
                  </a:lnTo>
                  <a:lnTo>
                    <a:pt x="215" y="95"/>
                  </a:lnTo>
                  <a:lnTo>
                    <a:pt x="197" y="108"/>
                  </a:lnTo>
                  <a:lnTo>
                    <a:pt x="186" y="101"/>
                  </a:lnTo>
                  <a:lnTo>
                    <a:pt x="192" y="90"/>
                  </a:lnTo>
                  <a:lnTo>
                    <a:pt x="174" y="78"/>
                  </a:lnTo>
                  <a:lnTo>
                    <a:pt x="156" y="78"/>
                  </a:lnTo>
                  <a:lnTo>
                    <a:pt x="144" y="90"/>
                  </a:lnTo>
                  <a:lnTo>
                    <a:pt x="125" y="95"/>
                  </a:lnTo>
                  <a:lnTo>
                    <a:pt x="114" y="90"/>
                  </a:lnTo>
                  <a:lnTo>
                    <a:pt x="95" y="90"/>
                  </a:lnTo>
                  <a:lnTo>
                    <a:pt x="84" y="113"/>
                  </a:lnTo>
                  <a:lnTo>
                    <a:pt x="78" y="131"/>
                  </a:lnTo>
                  <a:lnTo>
                    <a:pt x="49" y="137"/>
                  </a:lnTo>
                  <a:lnTo>
                    <a:pt x="66" y="161"/>
                  </a:lnTo>
                  <a:lnTo>
                    <a:pt x="42" y="167"/>
                  </a:lnTo>
                  <a:lnTo>
                    <a:pt x="19" y="161"/>
                  </a:lnTo>
                  <a:lnTo>
                    <a:pt x="0" y="161"/>
                  </a:lnTo>
                  <a:lnTo>
                    <a:pt x="13" y="131"/>
                  </a:lnTo>
                  <a:lnTo>
                    <a:pt x="30" y="120"/>
                  </a:lnTo>
                  <a:lnTo>
                    <a:pt x="36" y="101"/>
                  </a:lnTo>
                  <a:lnTo>
                    <a:pt x="25" y="90"/>
                  </a:lnTo>
                  <a:lnTo>
                    <a:pt x="30" y="78"/>
                  </a:lnTo>
                  <a:lnTo>
                    <a:pt x="49" y="78"/>
                  </a:lnTo>
                  <a:lnTo>
                    <a:pt x="72" y="59"/>
                  </a:lnTo>
                  <a:lnTo>
                    <a:pt x="84" y="55"/>
                  </a:lnTo>
                  <a:lnTo>
                    <a:pt x="114" y="55"/>
                  </a:lnTo>
                  <a:lnTo>
                    <a:pt x="144" y="48"/>
                  </a:lnTo>
                  <a:lnTo>
                    <a:pt x="174" y="42"/>
                  </a:lnTo>
                  <a:lnTo>
                    <a:pt x="203" y="23"/>
                  </a:lnTo>
                  <a:lnTo>
                    <a:pt x="239" y="0"/>
                  </a:lnTo>
                  <a:lnTo>
                    <a:pt x="239" y="29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39" name="Freeform 154"/>
            <p:cNvSpPr>
              <a:spLocks/>
            </p:cNvSpPr>
            <p:nvPr/>
          </p:nvSpPr>
          <p:spPr bwMode="auto">
            <a:xfrm>
              <a:off x="1875" y="3174"/>
              <a:ext cx="361" cy="339"/>
            </a:xfrm>
            <a:custGeom>
              <a:avLst/>
              <a:gdLst>
                <a:gd name="T0" fmla="*/ 24454988 w 291"/>
                <a:gd name="T1" fmla="*/ 320 h 333"/>
                <a:gd name="T2" fmla="*/ 22954777 w 291"/>
                <a:gd name="T3" fmla="*/ 355 h 333"/>
                <a:gd name="T4" fmla="*/ 21073370 w 291"/>
                <a:gd name="T5" fmla="*/ 389 h 333"/>
                <a:gd name="T6" fmla="*/ 20281527 w 291"/>
                <a:gd name="T7" fmla="*/ 433 h 333"/>
                <a:gd name="T8" fmla="*/ 22163902 w 291"/>
                <a:gd name="T9" fmla="*/ 446 h 333"/>
                <a:gd name="T10" fmla="*/ 20281527 w 291"/>
                <a:gd name="T11" fmla="*/ 500 h 333"/>
                <a:gd name="T12" fmla="*/ 17506905 w 291"/>
                <a:gd name="T13" fmla="*/ 530 h 333"/>
                <a:gd name="T14" fmla="*/ 14322216 w 291"/>
                <a:gd name="T15" fmla="*/ 542 h 333"/>
                <a:gd name="T16" fmla="*/ 12193543 w 291"/>
                <a:gd name="T17" fmla="*/ 518 h 333"/>
                <a:gd name="T18" fmla="*/ 10222084 w 291"/>
                <a:gd name="T19" fmla="*/ 572 h 333"/>
                <a:gd name="T20" fmla="*/ 10769779 w 291"/>
                <a:gd name="T21" fmla="*/ 621 h 333"/>
                <a:gd name="T22" fmla="*/ 10222084 w 291"/>
                <a:gd name="T23" fmla="*/ 683 h 333"/>
                <a:gd name="T24" fmla="*/ 9358151 w 291"/>
                <a:gd name="T25" fmla="*/ 729 h 333"/>
                <a:gd name="T26" fmla="*/ 8006175 w 291"/>
                <a:gd name="T27" fmla="*/ 795 h 333"/>
                <a:gd name="T28" fmla="*/ 6724092 w 291"/>
                <a:gd name="T29" fmla="*/ 842 h 333"/>
                <a:gd name="T30" fmla="*/ 5202317 w 291"/>
                <a:gd name="T31" fmla="*/ 872 h 333"/>
                <a:gd name="T32" fmla="*/ 3345381 w 291"/>
                <a:gd name="T33" fmla="*/ 842 h 333"/>
                <a:gd name="T34" fmla="*/ 3345381 w 291"/>
                <a:gd name="T35" fmla="*/ 798 h 333"/>
                <a:gd name="T36" fmla="*/ 1967795 w 291"/>
                <a:gd name="T37" fmla="*/ 811 h 333"/>
                <a:gd name="T38" fmla="*/ 663561 w 291"/>
                <a:gd name="T39" fmla="*/ 795 h 333"/>
                <a:gd name="T40" fmla="*/ 1427290 w 291"/>
                <a:gd name="T41" fmla="*/ 729 h 333"/>
                <a:gd name="T42" fmla="*/ 0 w 291"/>
                <a:gd name="T43" fmla="*/ 669 h 333"/>
                <a:gd name="T44" fmla="*/ 2696692 w 291"/>
                <a:gd name="T45" fmla="*/ 636 h 333"/>
                <a:gd name="T46" fmla="*/ 4150110 w 291"/>
                <a:gd name="T47" fmla="*/ 588 h 333"/>
                <a:gd name="T48" fmla="*/ 4660539 w 291"/>
                <a:gd name="T49" fmla="*/ 558 h 333"/>
                <a:gd name="T50" fmla="*/ 6122272 w 291"/>
                <a:gd name="T51" fmla="*/ 530 h 333"/>
                <a:gd name="T52" fmla="*/ 6724092 w 291"/>
                <a:gd name="T53" fmla="*/ 530 h 333"/>
                <a:gd name="T54" fmla="*/ 8006175 w 291"/>
                <a:gd name="T55" fmla="*/ 465 h 333"/>
                <a:gd name="T56" fmla="*/ 9358151 w 291"/>
                <a:gd name="T57" fmla="*/ 403 h 333"/>
                <a:gd name="T58" fmla="*/ 11376477 w 291"/>
                <a:gd name="T59" fmla="*/ 338 h 333"/>
                <a:gd name="T60" fmla="*/ 12837368 w 291"/>
                <a:gd name="T61" fmla="*/ 303 h 333"/>
                <a:gd name="T62" fmla="*/ 14750275 w 291"/>
                <a:gd name="T63" fmla="*/ 273 h 333"/>
                <a:gd name="T64" fmla="*/ 17506905 w 291"/>
                <a:gd name="T65" fmla="*/ 245 h 333"/>
                <a:gd name="T66" fmla="*/ 18149986 w 291"/>
                <a:gd name="T67" fmla="*/ 194 h 333"/>
                <a:gd name="T68" fmla="*/ 18908070 w 291"/>
                <a:gd name="T69" fmla="*/ 140 h 333"/>
                <a:gd name="T70" fmla="*/ 17506905 w 291"/>
                <a:gd name="T71" fmla="*/ 116 h 333"/>
                <a:gd name="T72" fmla="*/ 18908070 w 291"/>
                <a:gd name="T73" fmla="*/ 94 h 333"/>
                <a:gd name="T74" fmla="*/ 21073370 w 291"/>
                <a:gd name="T75" fmla="*/ 83 h 333"/>
                <a:gd name="T76" fmla="*/ 22954777 w 291"/>
                <a:gd name="T77" fmla="*/ 23 h 333"/>
                <a:gd name="T78" fmla="*/ 24454988 w 291"/>
                <a:gd name="T79" fmla="*/ 17 h 333"/>
                <a:gd name="T80" fmla="*/ 26944106 w 291"/>
                <a:gd name="T81" fmla="*/ 0 h 333"/>
                <a:gd name="T82" fmla="*/ 28920489 w 291"/>
                <a:gd name="T83" fmla="*/ 4 h 333"/>
                <a:gd name="T84" fmla="*/ 31161755 w 291"/>
                <a:gd name="T85" fmla="*/ 0 h 333"/>
                <a:gd name="T86" fmla="*/ 28262403 w 291"/>
                <a:gd name="T87" fmla="*/ 83 h 333"/>
                <a:gd name="T88" fmla="*/ 28920489 w 291"/>
                <a:gd name="T89" fmla="*/ 94 h 333"/>
                <a:gd name="T90" fmla="*/ 30404107 w 291"/>
                <a:gd name="T91" fmla="*/ 83 h 333"/>
                <a:gd name="T92" fmla="*/ 30404107 w 291"/>
                <a:gd name="T93" fmla="*/ 17 h 333"/>
                <a:gd name="T94" fmla="*/ 33082324 w 291"/>
                <a:gd name="T95" fmla="*/ 23 h 333"/>
                <a:gd name="T96" fmla="*/ 32431125 w 291"/>
                <a:gd name="T97" fmla="*/ 23 h 333"/>
                <a:gd name="T98" fmla="*/ 31696898 w 291"/>
                <a:gd name="T99" fmla="*/ 94 h 333"/>
                <a:gd name="T100" fmla="*/ 33082324 w 291"/>
                <a:gd name="T101" fmla="*/ 116 h 333"/>
                <a:gd name="T102" fmla="*/ 32431125 w 291"/>
                <a:gd name="T103" fmla="*/ 161 h 333"/>
                <a:gd name="T104" fmla="*/ 30404107 w 291"/>
                <a:gd name="T105" fmla="*/ 194 h 333"/>
                <a:gd name="T106" fmla="*/ 28920489 w 291"/>
                <a:gd name="T107" fmla="*/ 273 h 333"/>
                <a:gd name="T108" fmla="*/ 24454988 w 291"/>
                <a:gd name="T109" fmla="*/ 320 h 333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91"/>
                <a:gd name="T166" fmla="*/ 0 h 333"/>
                <a:gd name="T167" fmla="*/ 291 w 291"/>
                <a:gd name="T168" fmla="*/ 333 h 333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91" h="333">
                  <a:moveTo>
                    <a:pt x="215" y="124"/>
                  </a:moveTo>
                  <a:lnTo>
                    <a:pt x="202" y="135"/>
                  </a:lnTo>
                  <a:lnTo>
                    <a:pt x="185" y="148"/>
                  </a:lnTo>
                  <a:lnTo>
                    <a:pt x="179" y="166"/>
                  </a:lnTo>
                  <a:lnTo>
                    <a:pt x="196" y="171"/>
                  </a:lnTo>
                  <a:lnTo>
                    <a:pt x="179" y="190"/>
                  </a:lnTo>
                  <a:lnTo>
                    <a:pt x="154" y="202"/>
                  </a:lnTo>
                  <a:lnTo>
                    <a:pt x="126" y="207"/>
                  </a:lnTo>
                  <a:lnTo>
                    <a:pt x="107" y="196"/>
                  </a:lnTo>
                  <a:lnTo>
                    <a:pt x="90" y="219"/>
                  </a:lnTo>
                  <a:lnTo>
                    <a:pt x="95" y="237"/>
                  </a:lnTo>
                  <a:lnTo>
                    <a:pt x="90" y="261"/>
                  </a:lnTo>
                  <a:lnTo>
                    <a:pt x="82" y="278"/>
                  </a:lnTo>
                  <a:lnTo>
                    <a:pt x="71" y="302"/>
                  </a:lnTo>
                  <a:lnTo>
                    <a:pt x="59" y="321"/>
                  </a:lnTo>
                  <a:lnTo>
                    <a:pt x="46" y="333"/>
                  </a:lnTo>
                  <a:lnTo>
                    <a:pt x="29" y="321"/>
                  </a:lnTo>
                  <a:lnTo>
                    <a:pt x="29" y="304"/>
                  </a:lnTo>
                  <a:lnTo>
                    <a:pt x="18" y="308"/>
                  </a:lnTo>
                  <a:lnTo>
                    <a:pt x="6" y="302"/>
                  </a:lnTo>
                  <a:lnTo>
                    <a:pt x="12" y="278"/>
                  </a:lnTo>
                  <a:lnTo>
                    <a:pt x="0" y="255"/>
                  </a:lnTo>
                  <a:lnTo>
                    <a:pt x="23" y="243"/>
                  </a:lnTo>
                  <a:lnTo>
                    <a:pt x="36" y="225"/>
                  </a:lnTo>
                  <a:lnTo>
                    <a:pt x="41" y="213"/>
                  </a:lnTo>
                  <a:lnTo>
                    <a:pt x="54" y="202"/>
                  </a:lnTo>
                  <a:lnTo>
                    <a:pt x="59" y="202"/>
                  </a:lnTo>
                  <a:lnTo>
                    <a:pt x="71" y="178"/>
                  </a:lnTo>
                  <a:lnTo>
                    <a:pt x="82" y="154"/>
                  </a:lnTo>
                  <a:lnTo>
                    <a:pt x="101" y="130"/>
                  </a:lnTo>
                  <a:lnTo>
                    <a:pt x="113" y="118"/>
                  </a:lnTo>
                  <a:lnTo>
                    <a:pt x="130" y="106"/>
                  </a:lnTo>
                  <a:lnTo>
                    <a:pt x="154" y="94"/>
                  </a:lnTo>
                  <a:lnTo>
                    <a:pt x="160" y="76"/>
                  </a:lnTo>
                  <a:lnTo>
                    <a:pt x="166" y="58"/>
                  </a:lnTo>
                  <a:lnTo>
                    <a:pt x="154" y="46"/>
                  </a:lnTo>
                  <a:lnTo>
                    <a:pt x="166" y="35"/>
                  </a:lnTo>
                  <a:lnTo>
                    <a:pt x="185" y="29"/>
                  </a:lnTo>
                  <a:lnTo>
                    <a:pt x="202" y="23"/>
                  </a:lnTo>
                  <a:lnTo>
                    <a:pt x="215" y="17"/>
                  </a:lnTo>
                  <a:lnTo>
                    <a:pt x="238" y="0"/>
                  </a:lnTo>
                  <a:lnTo>
                    <a:pt x="255" y="4"/>
                  </a:lnTo>
                  <a:lnTo>
                    <a:pt x="274" y="0"/>
                  </a:lnTo>
                  <a:lnTo>
                    <a:pt x="249" y="29"/>
                  </a:lnTo>
                  <a:lnTo>
                    <a:pt x="255" y="35"/>
                  </a:lnTo>
                  <a:lnTo>
                    <a:pt x="268" y="29"/>
                  </a:lnTo>
                  <a:lnTo>
                    <a:pt x="268" y="17"/>
                  </a:lnTo>
                  <a:lnTo>
                    <a:pt x="291" y="23"/>
                  </a:lnTo>
                  <a:lnTo>
                    <a:pt x="285" y="23"/>
                  </a:lnTo>
                  <a:lnTo>
                    <a:pt x="280" y="35"/>
                  </a:lnTo>
                  <a:lnTo>
                    <a:pt x="291" y="46"/>
                  </a:lnTo>
                  <a:lnTo>
                    <a:pt x="285" y="65"/>
                  </a:lnTo>
                  <a:lnTo>
                    <a:pt x="268" y="76"/>
                  </a:lnTo>
                  <a:lnTo>
                    <a:pt x="255" y="106"/>
                  </a:lnTo>
                  <a:lnTo>
                    <a:pt x="215" y="124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43" name="Freeform 155"/>
            <p:cNvSpPr>
              <a:spLocks/>
            </p:cNvSpPr>
            <p:nvPr/>
          </p:nvSpPr>
          <p:spPr bwMode="auto">
            <a:xfrm>
              <a:off x="1706" y="3433"/>
              <a:ext cx="330" cy="182"/>
            </a:xfrm>
            <a:custGeom>
              <a:avLst/>
              <a:gdLst>
                <a:gd name="T0" fmla="*/ 5456772 w 268"/>
                <a:gd name="T1" fmla="*/ 241 h 178"/>
                <a:gd name="T2" fmla="*/ 4184683 w 268"/>
                <a:gd name="T3" fmla="*/ 241 h 178"/>
                <a:gd name="T4" fmla="*/ 3209218 w 268"/>
                <a:gd name="T5" fmla="*/ 271 h 178"/>
                <a:gd name="T6" fmla="*/ 2302676 w 268"/>
                <a:gd name="T7" fmla="*/ 258 h 178"/>
                <a:gd name="T8" fmla="*/ 1395991 w 268"/>
                <a:gd name="T9" fmla="*/ 258 h 178"/>
                <a:gd name="T10" fmla="*/ 459573 w 268"/>
                <a:gd name="T11" fmla="*/ 271 h 178"/>
                <a:gd name="T12" fmla="*/ 1395991 w 268"/>
                <a:gd name="T13" fmla="*/ 309 h 178"/>
                <a:gd name="T14" fmla="*/ 1395991 w 268"/>
                <a:gd name="T15" fmla="*/ 336 h 178"/>
                <a:gd name="T16" fmla="*/ 459573 w 268"/>
                <a:gd name="T17" fmla="*/ 352 h 178"/>
                <a:gd name="T18" fmla="*/ 0 w 268"/>
                <a:gd name="T19" fmla="*/ 394 h 178"/>
                <a:gd name="T20" fmla="*/ 1018328 w 268"/>
                <a:gd name="T21" fmla="*/ 430 h 178"/>
                <a:gd name="T22" fmla="*/ 1018328 w 268"/>
                <a:gd name="T23" fmla="*/ 455 h 178"/>
                <a:gd name="T24" fmla="*/ 0 w 268"/>
                <a:gd name="T25" fmla="*/ 491 h 178"/>
                <a:gd name="T26" fmla="*/ 1018328 w 268"/>
                <a:gd name="T27" fmla="*/ 537 h 178"/>
                <a:gd name="T28" fmla="*/ 1018328 w 268"/>
                <a:gd name="T29" fmla="*/ 588 h 178"/>
                <a:gd name="T30" fmla="*/ 2302676 w 268"/>
                <a:gd name="T31" fmla="*/ 554 h 178"/>
                <a:gd name="T32" fmla="*/ 2673264 w 268"/>
                <a:gd name="T33" fmla="*/ 514 h 178"/>
                <a:gd name="T34" fmla="*/ 3209218 w 268"/>
                <a:gd name="T35" fmla="*/ 514 h 178"/>
                <a:gd name="T36" fmla="*/ 4184683 w 268"/>
                <a:gd name="T37" fmla="*/ 554 h 178"/>
                <a:gd name="T38" fmla="*/ 4591925 w 268"/>
                <a:gd name="T39" fmla="*/ 588 h 178"/>
                <a:gd name="T40" fmla="*/ 5456772 w 268"/>
                <a:gd name="T41" fmla="*/ 588 h 178"/>
                <a:gd name="T42" fmla="*/ 7194428 w 268"/>
                <a:gd name="T43" fmla="*/ 554 h 178"/>
                <a:gd name="T44" fmla="*/ 7751861 w 268"/>
                <a:gd name="T45" fmla="*/ 514 h 178"/>
                <a:gd name="T46" fmla="*/ 8587968 w 268"/>
                <a:gd name="T47" fmla="*/ 469 h 178"/>
                <a:gd name="T48" fmla="*/ 9513081 w 268"/>
                <a:gd name="T49" fmla="*/ 491 h 178"/>
                <a:gd name="T50" fmla="*/ 9882936 w 268"/>
                <a:gd name="T51" fmla="*/ 469 h 178"/>
                <a:gd name="T52" fmla="*/ 11845611 w 268"/>
                <a:gd name="T53" fmla="*/ 455 h 178"/>
                <a:gd name="T54" fmla="*/ 14586008 w 268"/>
                <a:gd name="T55" fmla="*/ 455 h 178"/>
                <a:gd name="T56" fmla="*/ 14023876 w 268"/>
                <a:gd name="T57" fmla="*/ 491 h 178"/>
                <a:gd name="T58" fmla="*/ 15431350 w 268"/>
                <a:gd name="T59" fmla="*/ 491 h 178"/>
                <a:gd name="T60" fmla="*/ 17322052 w 268"/>
                <a:gd name="T61" fmla="*/ 537 h 178"/>
                <a:gd name="T62" fmla="*/ 18123252 w 268"/>
                <a:gd name="T63" fmla="*/ 491 h 178"/>
                <a:gd name="T64" fmla="*/ 19019965 w 268"/>
                <a:gd name="T65" fmla="*/ 554 h 178"/>
                <a:gd name="T66" fmla="*/ 19461544 w 268"/>
                <a:gd name="T67" fmla="*/ 554 h 178"/>
                <a:gd name="T68" fmla="*/ 19461544 w 268"/>
                <a:gd name="T69" fmla="*/ 514 h 178"/>
                <a:gd name="T70" fmla="*/ 20365330 w 268"/>
                <a:gd name="T71" fmla="*/ 450 h 178"/>
                <a:gd name="T72" fmla="*/ 20365330 w 268"/>
                <a:gd name="T73" fmla="*/ 377 h 178"/>
                <a:gd name="T74" fmla="*/ 19461544 w 268"/>
                <a:gd name="T75" fmla="*/ 336 h 178"/>
                <a:gd name="T76" fmla="*/ 19019965 w 268"/>
                <a:gd name="T77" fmla="*/ 289 h 178"/>
                <a:gd name="T78" fmla="*/ 17709028 w 268"/>
                <a:gd name="T79" fmla="*/ 241 h 178"/>
                <a:gd name="T80" fmla="*/ 18123252 w 268"/>
                <a:gd name="T81" fmla="*/ 166 h 178"/>
                <a:gd name="T82" fmla="*/ 16700834 w 268"/>
                <a:gd name="T83" fmla="*/ 152 h 178"/>
                <a:gd name="T84" fmla="*/ 17322052 w 268"/>
                <a:gd name="T85" fmla="*/ 113 h 178"/>
                <a:gd name="T86" fmla="*/ 16700834 w 268"/>
                <a:gd name="T87" fmla="*/ 87 h 178"/>
                <a:gd name="T88" fmla="*/ 15990222 w 268"/>
                <a:gd name="T89" fmla="*/ 146 h 178"/>
                <a:gd name="T90" fmla="*/ 14974305 w 268"/>
                <a:gd name="T91" fmla="*/ 222 h 178"/>
                <a:gd name="T92" fmla="*/ 14023876 w 268"/>
                <a:gd name="T93" fmla="*/ 258 h 178"/>
                <a:gd name="T94" fmla="*/ 12720829 w 268"/>
                <a:gd name="T95" fmla="*/ 222 h 178"/>
                <a:gd name="T96" fmla="*/ 12720829 w 268"/>
                <a:gd name="T97" fmla="*/ 152 h 178"/>
                <a:gd name="T98" fmla="*/ 11845611 w 268"/>
                <a:gd name="T99" fmla="*/ 166 h 178"/>
                <a:gd name="T100" fmla="*/ 10908234 w 268"/>
                <a:gd name="T101" fmla="*/ 146 h 178"/>
                <a:gd name="T102" fmla="*/ 11424610 w 268"/>
                <a:gd name="T103" fmla="*/ 87 h 178"/>
                <a:gd name="T104" fmla="*/ 10438915 w 268"/>
                <a:gd name="T105" fmla="*/ 0 h 178"/>
                <a:gd name="T106" fmla="*/ 9129054 w 268"/>
                <a:gd name="T107" fmla="*/ 18 h 178"/>
                <a:gd name="T108" fmla="*/ 8237143 w 268"/>
                <a:gd name="T109" fmla="*/ 87 h 178"/>
                <a:gd name="T110" fmla="*/ 7194428 w 268"/>
                <a:gd name="T111" fmla="*/ 152 h 178"/>
                <a:gd name="T112" fmla="*/ 5456772 w 268"/>
                <a:gd name="T113" fmla="*/ 241 h 1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68"/>
                <a:gd name="T172" fmla="*/ 0 h 178"/>
                <a:gd name="T173" fmla="*/ 268 w 268"/>
                <a:gd name="T174" fmla="*/ 178 h 17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68" h="178">
                  <a:moveTo>
                    <a:pt x="72" y="72"/>
                  </a:moveTo>
                  <a:lnTo>
                    <a:pt x="55" y="72"/>
                  </a:lnTo>
                  <a:lnTo>
                    <a:pt x="42" y="83"/>
                  </a:lnTo>
                  <a:lnTo>
                    <a:pt x="30" y="78"/>
                  </a:lnTo>
                  <a:lnTo>
                    <a:pt x="19" y="78"/>
                  </a:lnTo>
                  <a:lnTo>
                    <a:pt x="6" y="83"/>
                  </a:lnTo>
                  <a:lnTo>
                    <a:pt x="19" y="95"/>
                  </a:lnTo>
                  <a:lnTo>
                    <a:pt x="19" y="102"/>
                  </a:lnTo>
                  <a:lnTo>
                    <a:pt x="6" y="106"/>
                  </a:lnTo>
                  <a:lnTo>
                    <a:pt x="0" y="119"/>
                  </a:lnTo>
                  <a:lnTo>
                    <a:pt x="13" y="131"/>
                  </a:lnTo>
                  <a:lnTo>
                    <a:pt x="13" y="138"/>
                  </a:lnTo>
                  <a:lnTo>
                    <a:pt x="0" y="148"/>
                  </a:lnTo>
                  <a:lnTo>
                    <a:pt x="13" y="161"/>
                  </a:lnTo>
                  <a:lnTo>
                    <a:pt x="13" y="178"/>
                  </a:lnTo>
                  <a:lnTo>
                    <a:pt x="30" y="167"/>
                  </a:lnTo>
                  <a:lnTo>
                    <a:pt x="36" y="155"/>
                  </a:lnTo>
                  <a:lnTo>
                    <a:pt x="42" y="155"/>
                  </a:lnTo>
                  <a:lnTo>
                    <a:pt x="55" y="167"/>
                  </a:lnTo>
                  <a:lnTo>
                    <a:pt x="61" y="178"/>
                  </a:lnTo>
                  <a:lnTo>
                    <a:pt x="72" y="178"/>
                  </a:lnTo>
                  <a:lnTo>
                    <a:pt x="95" y="167"/>
                  </a:lnTo>
                  <a:lnTo>
                    <a:pt x="102" y="155"/>
                  </a:lnTo>
                  <a:lnTo>
                    <a:pt x="114" y="142"/>
                  </a:lnTo>
                  <a:lnTo>
                    <a:pt x="125" y="148"/>
                  </a:lnTo>
                  <a:lnTo>
                    <a:pt x="131" y="142"/>
                  </a:lnTo>
                  <a:lnTo>
                    <a:pt x="156" y="138"/>
                  </a:lnTo>
                  <a:lnTo>
                    <a:pt x="192" y="138"/>
                  </a:lnTo>
                  <a:lnTo>
                    <a:pt x="184" y="148"/>
                  </a:lnTo>
                  <a:lnTo>
                    <a:pt x="203" y="148"/>
                  </a:lnTo>
                  <a:lnTo>
                    <a:pt x="228" y="161"/>
                  </a:lnTo>
                  <a:lnTo>
                    <a:pt x="239" y="148"/>
                  </a:lnTo>
                  <a:lnTo>
                    <a:pt x="251" y="167"/>
                  </a:lnTo>
                  <a:lnTo>
                    <a:pt x="256" y="167"/>
                  </a:lnTo>
                  <a:lnTo>
                    <a:pt x="256" y="155"/>
                  </a:lnTo>
                  <a:lnTo>
                    <a:pt x="268" y="137"/>
                  </a:lnTo>
                  <a:lnTo>
                    <a:pt x="268" y="113"/>
                  </a:lnTo>
                  <a:lnTo>
                    <a:pt x="256" y="102"/>
                  </a:lnTo>
                  <a:lnTo>
                    <a:pt x="251" y="89"/>
                  </a:lnTo>
                  <a:lnTo>
                    <a:pt x="233" y="72"/>
                  </a:lnTo>
                  <a:lnTo>
                    <a:pt x="239" y="53"/>
                  </a:lnTo>
                  <a:lnTo>
                    <a:pt x="220" y="49"/>
                  </a:lnTo>
                  <a:lnTo>
                    <a:pt x="228" y="36"/>
                  </a:lnTo>
                  <a:lnTo>
                    <a:pt x="220" y="23"/>
                  </a:lnTo>
                  <a:lnTo>
                    <a:pt x="210" y="47"/>
                  </a:lnTo>
                  <a:lnTo>
                    <a:pt x="197" y="66"/>
                  </a:lnTo>
                  <a:lnTo>
                    <a:pt x="184" y="78"/>
                  </a:lnTo>
                  <a:lnTo>
                    <a:pt x="167" y="66"/>
                  </a:lnTo>
                  <a:lnTo>
                    <a:pt x="167" y="49"/>
                  </a:lnTo>
                  <a:lnTo>
                    <a:pt x="156" y="53"/>
                  </a:lnTo>
                  <a:lnTo>
                    <a:pt x="144" y="47"/>
                  </a:lnTo>
                  <a:lnTo>
                    <a:pt x="150" y="23"/>
                  </a:lnTo>
                  <a:lnTo>
                    <a:pt x="138" y="0"/>
                  </a:lnTo>
                  <a:lnTo>
                    <a:pt x="120" y="18"/>
                  </a:lnTo>
                  <a:lnTo>
                    <a:pt x="108" y="23"/>
                  </a:lnTo>
                  <a:lnTo>
                    <a:pt x="95" y="49"/>
                  </a:lnTo>
                  <a:lnTo>
                    <a:pt x="72" y="72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44" name="Freeform 156"/>
            <p:cNvSpPr>
              <a:spLocks/>
            </p:cNvSpPr>
            <p:nvPr/>
          </p:nvSpPr>
          <p:spPr bwMode="auto">
            <a:xfrm>
              <a:off x="2604" y="3348"/>
              <a:ext cx="51" cy="104"/>
            </a:xfrm>
            <a:custGeom>
              <a:avLst/>
              <a:gdLst>
                <a:gd name="T0" fmla="*/ 0 w 42"/>
                <a:gd name="T1" fmla="*/ 165 h 102"/>
                <a:gd name="T2" fmla="*/ 0 w 42"/>
                <a:gd name="T3" fmla="*/ 227 h 102"/>
                <a:gd name="T4" fmla="*/ 207028 w 42"/>
                <a:gd name="T5" fmla="*/ 272 h 102"/>
                <a:gd name="T6" fmla="*/ 450103 w 42"/>
                <a:gd name="T7" fmla="*/ 287 h 102"/>
                <a:gd name="T8" fmla="*/ 678777 w 42"/>
                <a:gd name="T9" fmla="*/ 287 h 102"/>
                <a:gd name="T10" fmla="*/ 871433 w 42"/>
                <a:gd name="T11" fmla="*/ 256 h 102"/>
                <a:gd name="T12" fmla="*/ 1493944 w 42"/>
                <a:gd name="T13" fmla="*/ 227 h 102"/>
                <a:gd name="T14" fmla="*/ 1493944 w 42"/>
                <a:gd name="T15" fmla="*/ 204 h 102"/>
                <a:gd name="T16" fmla="*/ 1284920 w 42"/>
                <a:gd name="T17" fmla="*/ 144 h 102"/>
                <a:gd name="T18" fmla="*/ 1284920 w 42"/>
                <a:gd name="T19" fmla="*/ 115 h 102"/>
                <a:gd name="T20" fmla="*/ 1493944 w 42"/>
                <a:gd name="T21" fmla="*/ 19 h 102"/>
                <a:gd name="T22" fmla="*/ 1493944 w 42"/>
                <a:gd name="T23" fmla="*/ 0 h 102"/>
                <a:gd name="T24" fmla="*/ 1284920 w 42"/>
                <a:gd name="T25" fmla="*/ 0 h 102"/>
                <a:gd name="T26" fmla="*/ 678777 w 42"/>
                <a:gd name="T27" fmla="*/ 19 h 102"/>
                <a:gd name="T28" fmla="*/ 450103 w 42"/>
                <a:gd name="T29" fmla="*/ 103 h 102"/>
                <a:gd name="T30" fmla="*/ 450103 w 42"/>
                <a:gd name="T31" fmla="*/ 127 h 102"/>
                <a:gd name="T32" fmla="*/ 0 w 42"/>
                <a:gd name="T33" fmla="*/ 165 h 10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2"/>
                <a:gd name="T52" fmla="*/ 0 h 102"/>
                <a:gd name="T53" fmla="*/ 42 w 42"/>
                <a:gd name="T54" fmla="*/ 102 h 10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2" h="102">
                  <a:moveTo>
                    <a:pt x="0" y="61"/>
                  </a:moveTo>
                  <a:lnTo>
                    <a:pt x="0" y="78"/>
                  </a:lnTo>
                  <a:lnTo>
                    <a:pt x="6" y="97"/>
                  </a:lnTo>
                  <a:lnTo>
                    <a:pt x="12" y="102"/>
                  </a:lnTo>
                  <a:lnTo>
                    <a:pt x="19" y="102"/>
                  </a:lnTo>
                  <a:lnTo>
                    <a:pt x="25" y="90"/>
                  </a:lnTo>
                  <a:lnTo>
                    <a:pt x="42" y="78"/>
                  </a:lnTo>
                  <a:lnTo>
                    <a:pt x="42" y="72"/>
                  </a:lnTo>
                  <a:lnTo>
                    <a:pt x="36" y="54"/>
                  </a:lnTo>
                  <a:lnTo>
                    <a:pt x="36" y="42"/>
                  </a:lnTo>
                  <a:lnTo>
                    <a:pt x="42" y="19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19" y="19"/>
                  </a:lnTo>
                  <a:lnTo>
                    <a:pt x="12" y="36"/>
                  </a:lnTo>
                  <a:lnTo>
                    <a:pt x="12" y="48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45" name="Freeform 157"/>
            <p:cNvSpPr>
              <a:spLocks/>
            </p:cNvSpPr>
            <p:nvPr/>
          </p:nvSpPr>
          <p:spPr bwMode="auto">
            <a:xfrm>
              <a:off x="2346" y="3428"/>
              <a:ext cx="220" cy="90"/>
            </a:xfrm>
            <a:custGeom>
              <a:avLst/>
              <a:gdLst>
                <a:gd name="T0" fmla="*/ 422797 w 179"/>
                <a:gd name="T1" fmla="*/ 152 h 89"/>
                <a:gd name="T2" fmla="*/ 936759 w 179"/>
                <a:gd name="T3" fmla="*/ 119 h 89"/>
                <a:gd name="T4" fmla="*/ 0 w 179"/>
                <a:gd name="T5" fmla="*/ 102 h 89"/>
                <a:gd name="T6" fmla="*/ 936759 w 179"/>
                <a:gd name="T7" fmla="*/ 102 h 89"/>
                <a:gd name="T8" fmla="*/ 2448290 w 179"/>
                <a:gd name="T9" fmla="*/ 36 h 89"/>
                <a:gd name="T10" fmla="*/ 3325282 w 179"/>
                <a:gd name="T11" fmla="*/ 19 h 89"/>
                <a:gd name="T12" fmla="*/ 3818883 w 179"/>
                <a:gd name="T13" fmla="*/ 6 h 89"/>
                <a:gd name="T14" fmla="*/ 5373438 w 179"/>
                <a:gd name="T15" fmla="*/ 12 h 89"/>
                <a:gd name="T16" fmla="*/ 7784480 w 179"/>
                <a:gd name="T17" fmla="*/ 0 h 89"/>
                <a:gd name="T18" fmla="*/ 8989445 w 179"/>
                <a:gd name="T19" fmla="*/ 12 h 89"/>
                <a:gd name="T20" fmla="*/ 10709867 w 179"/>
                <a:gd name="T21" fmla="*/ 19 h 89"/>
                <a:gd name="T22" fmla="*/ 12272264 w 179"/>
                <a:gd name="T23" fmla="*/ 23 h 89"/>
                <a:gd name="T24" fmla="*/ 11129160 w 179"/>
                <a:gd name="T25" fmla="*/ 36 h 89"/>
                <a:gd name="T26" fmla="*/ 9898741 w 179"/>
                <a:gd name="T27" fmla="*/ 42 h 89"/>
                <a:gd name="T28" fmla="*/ 8230890 w 179"/>
                <a:gd name="T29" fmla="*/ 36 h 89"/>
                <a:gd name="T30" fmla="*/ 7387398 w 179"/>
                <a:gd name="T31" fmla="*/ 107 h 89"/>
                <a:gd name="T32" fmla="*/ 5803551 w 179"/>
                <a:gd name="T33" fmla="*/ 113 h 89"/>
                <a:gd name="T34" fmla="*/ 4591294 w 179"/>
                <a:gd name="T35" fmla="*/ 109 h 89"/>
                <a:gd name="T36" fmla="*/ 3383902 w 179"/>
                <a:gd name="T37" fmla="*/ 126 h 89"/>
                <a:gd name="T38" fmla="*/ 2448290 w 179"/>
                <a:gd name="T39" fmla="*/ 152 h 89"/>
                <a:gd name="T40" fmla="*/ 422797 w 179"/>
                <a:gd name="T41" fmla="*/ 152 h 8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79"/>
                <a:gd name="T64" fmla="*/ 0 h 89"/>
                <a:gd name="T65" fmla="*/ 179 w 179"/>
                <a:gd name="T66" fmla="*/ 89 h 8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79" h="89">
                  <a:moveTo>
                    <a:pt x="6" y="89"/>
                  </a:moveTo>
                  <a:lnTo>
                    <a:pt x="13" y="65"/>
                  </a:lnTo>
                  <a:lnTo>
                    <a:pt x="0" y="48"/>
                  </a:lnTo>
                  <a:lnTo>
                    <a:pt x="13" y="48"/>
                  </a:lnTo>
                  <a:lnTo>
                    <a:pt x="36" y="36"/>
                  </a:lnTo>
                  <a:lnTo>
                    <a:pt x="48" y="19"/>
                  </a:lnTo>
                  <a:lnTo>
                    <a:pt x="55" y="6"/>
                  </a:lnTo>
                  <a:lnTo>
                    <a:pt x="78" y="12"/>
                  </a:lnTo>
                  <a:lnTo>
                    <a:pt x="114" y="0"/>
                  </a:lnTo>
                  <a:lnTo>
                    <a:pt x="131" y="12"/>
                  </a:lnTo>
                  <a:lnTo>
                    <a:pt x="156" y="19"/>
                  </a:lnTo>
                  <a:lnTo>
                    <a:pt x="179" y="23"/>
                  </a:lnTo>
                  <a:lnTo>
                    <a:pt x="162" y="36"/>
                  </a:lnTo>
                  <a:lnTo>
                    <a:pt x="144" y="42"/>
                  </a:lnTo>
                  <a:lnTo>
                    <a:pt x="120" y="36"/>
                  </a:lnTo>
                  <a:lnTo>
                    <a:pt x="108" y="53"/>
                  </a:lnTo>
                  <a:lnTo>
                    <a:pt x="85" y="59"/>
                  </a:lnTo>
                  <a:lnTo>
                    <a:pt x="67" y="55"/>
                  </a:lnTo>
                  <a:lnTo>
                    <a:pt x="49" y="72"/>
                  </a:lnTo>
                  <a:lnTo>
                    <a:pt x="36" y="89"/>
                  </a:lnTo>
                  <a:lnTo>
                    <a:pt x="6" y="89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49" name="Freeform 158"/>
            <p:cNvSpPr>
              <a:spLocks/>
            </p:cNvSpPr>
            <p:nvPr/>
          </p:nvSpPr>
          <p:spPr bwMode="auto">
            <a:xfrm>
              <a:off x="2391" y="3452"/>
              <a:ext cx="236" cy="168"/>
            </a:xfrm>
            <a:custGeom>
              <a:avLst/>
              <a:gdLst>
                <a:gd name="T0" fmla="*/ 806657 w 192"/>
                <a:gd name="T1" fmla="*/ 197 h 166"/>
                <a:gd name="T2" fmla="*/ 806657 w 192"/>
                <a:gd name="T3" fmla="*/ 151 h 166"/>
                <a:gd name="T4" fmla="*/ 0 w 192"/>
                <a:gd name="T5" fmla="*/ 119 h 166"/>
                <a:gd name="T6" fmla="*/ 939301 w 192"/>
                <a:gd name="T7" fmla="*/ 102 h 166"/>
                <a:gd name="T8" fmla="*/ 2144113 w 192"/>
                <a:gd name="T9" fmla="*/ 31 h 166"/>
                <a:gd name="T10" fmla="*/ 3399440 w 192"/>
                <a:gd name="T11" fmla="*/ 35 h 166"/>
                <a:gd name="T12" fmla="*/ 4984440 w 192"/>
                <a:gd name="T13" fmla="*/ 29 h 166"/>
                <a:gd name="T14" fmla="*/ 5793014 w 192"/>
                <a:gd name="T15" fmla="*/ 12 h 166"/>
                <a:gd name="T16" fmla="*/ 7417810 w 192"/>
                <a:gd name="T17" fmla="*/ 18 h 166"/>
                <a:gd name="T18" fmla="*/ 8734330 w 192"/>
                <a:gd name="T19" fmla="*/ 12 h 166"/>
                <a:gd name="T20" fmla="*/ 9872622 w 192"/>
                <a:gd name="T21" fmla="*/ 0 h 166"/>
                <a:gd name="T22" fmla="*/ 11172055 w 192"/>
                <a:gd name="T23" fmla="*/ 0 h 166"/>
                <a:gd name="T24" fmla="*/ 11514264 w 192"/>
                <a:gd name="T25" fmla="*/ 18 h 166"/>
                <a:gd name="T26" fmla="*/ 11172055 w 192"/>
                <a:gd name="T27" fmla="*/ 29 h 166"/>
                <a:gd name="T28" fmla="*/ 11514264 w 192"/>
                <a:gd name="T29" fmla="*/ 31 h 166"/>
                <a:gd name="T30" fmla="*/ 12322593 w 192"/>
                <a:gd name="T31" fmla="*/ 35 h 166"/>
                <a:gd name="T32" fmla="*/ 12770472 w 192"/>
                <a:gd name="T33" fmla="*/ 108 h 166"/>
                <a:gd name="T34" fmla="*/ 13223523 w 192"/>
                <a:gd name="T35" fmla="*/ 119 h 166"/>
                <a:gd name="T36" fmla="*/ 12322593 w 192"/>
                <a:gd name="T37" fmla="*/ 137 h 166"/>
                <a:gd name="T38" fmla="*/ 13223523 w 192"/>
                <a:gd name="T39" fmla="*/ 137 h 166"/>
                <a:gd name="T40" fmla="*/ 12770472 w 192"/>
                <a:gd name="T41" fmla="*/ 185 h 166"/>
                <a:gd name="T42" fmla="*/ 12050161 w 192"/>
                <a:gd name="T43" fmla="*/ 227 h 166"/>
                <a:gd name="T44" fmla="*/ 11172055 w 192"/>
                <a:gd name="T45" fmla="*/ 242 h 166"/>
                <a:gd name="T46" fmla="*/ 9594393 w 192"/>
                <a:gd name="T47" fmla="*/ 263 h 166"/>
                <a:gd name="T48" fmla="*/ 9050629 w 192"/>
                <a:gd name="T49" fmla="*/ 272 h 166"/>
                <a:gd name="T50" fmla="*/ 8734330 w 192"/>
                <a:gd name="T51" fmla="*/ 312 h 166"/>
                <a:gd name="T52" fmla="*/ 7417810 w 192"/>
                <a:gd name="T53" fmla="*/ 290 h 166"/>
                <a:gd name="T54" fmla="*/ 7120577 w 192"/>
                <a:gd name="T55" fmla="*/ 230 h 166"/>
                <a:gd name="T56" fmla="*/ 5793014 w 192"/>
                <a:gd name="T57" fmla="*/ 253 h 166"/>
                <a:gd name="T58" fmla="*/ 5394076 w 192"/>
                <a:gd name="T59" fmla="*/ 209 h 166"/>
                <a:gd name="T60" fmla="*/ 5394076 w 192"/>
                <a:gd name="T61" fmla="*/ 173 h 166"/>
                <a:gd name="T62" fmla="*/ 4611260 w 192"/>
                <a:gd name="T63" fmla="*/ 173 h 166"/>
                <a:gd name="T64" fmla="*/ 2906884 w 192"/>
                <a:gd name="T65" fmla="*/ 197 h 166"/>
                <a:gd name="T66" fmla="*/ 806657 w 192"/>
                <a:gd name="T67" fmla="*/ 197 h 16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92"/>
                <a:gd name="T103" fmla="*/ 0 h 166"/>
                <a:gd name="T104" fmla="*/ 192 w 192"/>
                <a:gd name="T105" fmla="*/ 166 h 16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92" h="166">
                  <a:moveTo>
                    <a:pt x="12" y="107"/>
                  </a:moveTo>
                  <a:lnTo>
                    <a:pt x="12" y="84"/>
                  </a:lnTo>
                  <a:lnTo>
                    <a:pt x="0" y="65"/>
                  </a:lnTo>
                  <a:lnTo>
                    <a:pt x="13" y="48"/>
                  </a:lnTo>
                  <a:lnTo>
                    <a:pt x="31" y="31"/>
                  </a:lnTo>
                  <a:lnTo>
                    <a:pt x="49" y="35"/>
                  </a:lnTo>
                  <a:lnTo>
                    <a:pt x="72" y="29"/>
                  </a:lnTo>
                  <a:lnTo>
                    <a:pt x="84" y="12"/>
                  </a:lnTo>
                  <a:lnTo>
                    <a:pt x="108" y="18"/>
                  </a:lnTo>
                  <a:lnTo>
                    <a:pt x="126" y="12"/>
                  </a:lnTo>
                  <a:lnTo>
                    <a:pt x="143" y="0"/>
                  </a:lnTo>
                  <a:lnTo>
                    <a:pt x="162" y="0"/>
                  </a:lnTo>
                  <a:lnTo>
                    <a:pt x="167" y="18"/>
                  </a:lnTo>
                  <a:lnTo>
                    <a:pt x="162" y="29"/>
                  </a:lnTo>
                  <a:lnTo>
                    <a:pt x="167" y="31"/>
                  </a:lnTo>
                  <a:lnTo>
                    <a:pt x="179" y="35"/>
                  </a:lnTo>
                  <a:lnTo>
                    <a:pt x="185" y="54"/>
                  </a:lnTo>
                  <a:lnTo>
                    <a:pt x="192" y="65"/>
                  </a:lnTo>
                  <a:lnTo>
                    <a:pt x="179" y="77"/>
                  </a:lnTo>
                  <a:lnTo>
                    <a:pt x="192" y="77"/>
                  </a:lnTo>
                  <a:lnTo>
                    <a:pt x="185" y="101"/>
                  </a:lnTo>
                  <a:lnTo>
                    <a:pt x="175" y="119"/>
                  </a:lnTo>
                  <a:lnTo>
                    <a:pt x="162" y="124"/>
                  </a:lnTo>
                  <a:lnTo>
                    <a:pt x="139" y="137"/>
                  </a:lnTo>
                  <a:lnTo>
                    <a:pt x="131" y="143"/>
                  </a:lnTo>
                  <a:lnTo>
                    <a:pt x="126" y="166"/>
                  </a:lnTo>
                  <a:lnTo>
                    <a:pt x="108" y="155"/>
                  </a:lnTo>
                  <a:lnTo>
                    <a:pt x="103" y="120"/>
                  </a:lnTo>
                  <a:lnTo>
                    <a:pt x="84" y="130"/>
                  </a:lnTo>
                  <a:lnTo>
                    <a:pt x="78" y="113"/>
                  </a:lnTo>
                  <a:lnTo>
                    <a:pt x="78" y="95"/>
                  </a:lnTo>
                  <a:lnTo>
                    <a:pt x="67" y="95"/>
                  </a:lnTo>
                  <a:lnTo>
                    <a:pt x="42" y="107"/>
                  </a:lnTo>
                  <a:lnTo>
                    <a:pt x="12" y="107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51" name="Freeform 159"/>
            <p:cNvSpPr>
              <a:spLocks/>
            </p:cNvSpPr>
            <p:nvPr/>
          </p:nvSpPr>
          <p:spPr bwMode="auto">
            <a:xfrm>
              <a:off x="1758" y="3850"/>
              <a:ext cx="243" cy="371"/>
            </a:xfrm>
            <a:custGeom>
              <a:avLst/>
              <a:gdLst>
                <a:gd name="T0" fmla="*/ 4963093 w 197"/>
                <a:gd name="T1" fmla="*/ 224 h 364"/>
                <a:gd name="T2" fmla="*/ 6053054 w 197"/>
                <a:gd name="T3" fmla="*/ 94 h 364"/>
                <a:gd name="T4" fmla="*/ 6493784 w 197"/>
                <a:gd name="T5" fmla="*/ 94 h 364"/>
                <a:gd name="T6" fmla="*/ 9557824 w 197"/>
                <a:gd name="T7" fmla="*/ 25 h 364"/>
                <a:gd name="T8" fmla="*/ 11489791 w 197"/>
                <a:gd name="T9" fmla="*/ 102 h 364"/>
                <a:gd name="T10" fmla="*/ 13906735 w 197"/>
                <a:gd name="T11" fmla="*/ 19 h 364"/>
                <a:gd name="T12" fmla="*/ 15468418 w 197"/>
                <a:gd name="T13" fmla="*/ 0 h 364"/>
                <a:gd name="T14" fmla="*/ 16425734 w 197"/>
                <a:gd name="T15" fmla="*/ 19 h 364"/>
                <a:gd name="T16" fmla="*/ 15952148 w 197"/>
                <a:gd name="T17" fmla="*/ 102 h 364"/>
                <a:gd name="T18" fmla="*/ 14860963 w 197"/>
                <a:gd name="T19" fmla="*/ 145 h 364"/>
                <a:gd name="T20" fmla="*/ 14404735 w 197"/>
                <a:gd name="T21" fmla="*/ 178 h 364"/>
                <a:gd name="T22" fmla="*/ 14860963 w 197"/>
                <a:gd name="T23" fmla="*/ 224 h 364"/>
                <a:gd name="T24" fmla="*/ 14404735 w 197"/>
                <a:gd name="T25" fmla="*/ 236 h 364"/>
                <a:gd name="T26" fmla="*/ 14860963 w 197"/>
                <a:gd name="T27" fmla="*/ 248 h 364"/>
                <a:gd name="T28" fmla="*/ 14013093 w 197"/>
                <a:gd name="T29" fmla="*/ 268 h 364"/>
                <a:gd name="T30" fmla="*/ 13906735 w 197"/>
                <a:gd name="T31" fmla="*/ 387 h 364"/>
                <a:gd name="T32" fmla="*/ 12932407 w 197"/>
                <a:gd name="T33" fmla="*/ 703 h 364"/>
                <a:gd name="T34" fmla="*/ 13423607 w 197"/>
                <a:gd name="T35" fmla="*/ 749 h 364"/>
                <a:gd name="T36" fmla="*/ 12932407 w 197"/>
                <a:gd name="T37" fmla="*/ 805 h 364"/>
                <a:gd name="T38" fmla="*/ 13423607 w 197"/>
                <a:gd name="T39" fmla="*/ 852 h 364"/>
                <a:gd name="T40" fmla="*/ 12932407 w 197"/>
                <a:gd name="T41" fmla="*/ 885 h 364"/>
                <a:gd name="T42" fmla="*/ 12504658 w 197"/>
                <a:gd name="T43" fmla="*/ 954 h 364"/>
                <a:gd name="T44" fmla="*/ 11847793 w 197"/>
                <a:gd name="T45" fmla="*/ 1015 h 364"/>
                <a:gd name="T46" fmla="*/ 11489791 w 197"/>
                <a:gd name="T47" fmla="*/ 1015 h 364"/>
                <a:gd name="T48" fmla="*/ 9557824 w 197"/>
                <a:gd name="T49" fmla="*/ 978 h 364"/>
                <a:gd name="T50" fmla="*/ 8499617 w 197"/>
                <a:gd name="T51" fmla="*/ 971 h 364"/>
                <a:gd name="T52" fmla="*/ 9557824 w 197"/>
                <a:gd name="T53" fmla="*/ 937 h 364"/>
                <a:gd name="T54" fmla="*/ 8970884 w 197"/>
                <a:gd name="T55" fmla="*/ 867 h 364"/>
                <a:gd name="T56" fmla="*/ 7466455 w 197"/>
                <a:gd name="T57" fmla="*/ 852 h 364"/>
                <a:gd name="T58" fmla="*/ 6493784 w 197"/>
                <a:gd name="T59" fmla="*/ 852 h 364"/>
                <a:gd name="T60" fmla="*/ 6053054 w 197"/>
                <a:gd name="T61" fmla="*/ 789 h 364"/>
                <a:gd name="T62" fmla="*/ 4619440 w 197"/>
                <a:gd name="T63" fmla="*/ 749 h 364"/>
                <a:gd name="T64" fmla="*/ 2531673 w 197"/>
                <a:gd name="T65" fmla="*/ 767 h 364"/>
                <a:gd name="T66" fmla="*/ 2976457 w 197"/>
                <a:gd name="T67" fmla="*/ 732 h 364"/>
                <a:gd name="T68" fmla="*/ 2052426 w 197"/>
                <a:gd name="T69" fmla="*/ 668 h 364"/>
                <a:gd name="T70" fmla="*/ 0 w 197"/>
                <a:gd name="T71" fmla="*/ 599 h 364"/>
                <a:gd name="T72" fmla="*/ 2976457 w 197"/>
                <a:gd name="T73" fmla="*/ 521 h 364"/>
                <a:gd name="T74" fmla="*/ 6053054 w 197"/>
                <a:gd name="T75" fmla="*/ 486 h 364"/>
                <a:gd name="T76" fmla="*/ 4963093 w 197"/>
                <a:gd name="T77" fmla="*/ 436 h 364"/>
                <a:gd name="T78" fmla="*/ 5476140 w 197"/>
                <a:gd name="T79" fmla="*/ 370 h 364"/>
                <a:gd name="T80" fmla="*/ 3550030 w 197"/>
                <a:gd name="T81" fmla="*/ 281 h 364"/>
                <a:gd name="T82" fmla="*/ 4963093 w 197"/>
                <a:gd name="T83" fmla="*/ 224 h 36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97"/>
                <a:gd name="T127" fmla="*/ 0 h 364"/>
                <a:gd name="T128" fmla="*/ 197 w 197"/>
                <a:gd name="T129" fmla="*/ 364 h 36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97" h="364">
                  <a:moveTo>
                    <a:pt x="60" y="78"/>
                  </a:moveTo>
                  <a:lnTo>
                    <a:pt x="72" y="32"/>
                  </a:lnTo>
                  <a:lnTo>
                    <a:pt x="78" y="32"/>
                  </a:lnTo>
                  <a:lnTo>
                    <a:pt x="114" y="25"/>
                  </a:lnTo>
                  <a:lnTo>
                    <a:pt x="138" y="36"/>
                  </a:lnTo>
                  <a:lnTo>
                    <a:pt x="167" y="19"/>
                  </a:lnTo>
                  <a:lnTo>
                    <a:pt x="186" y="0"/>
                  </a:lnTo>
                  <a:lnTo>
                    <a:pt x="197" y="19"/>
                  </a:lnTo>
                  <a:lnTo>
                    <a:pt x="191" y="36"/>
                  </a:lnTo>
                  <a:lnTo>
                    <a:pt x="178" y="55"/>
                  </a:lnTo>
                  <a:lnTo>
                    <a:pt x="173" y="66"/>
                  </a:lnTo>
                  <a:lnTo>
                    <a:pt x="178" y="78"/>
                  </a:lnTo>
                  <a:lnTo>
                    <a:pt x="173" y="84"/>
                  </a:lnTo>
                  <a:lnTo>
                    <a:pt x="178" y="89"/>
                  </a:lnTo>
                  <a:lnTo>
                    <a:pt x="168" y="97"/>
                  </a:lnTo>
                  <a:lnTo>
                    <a:pt x="167" y="138"/>
                  </a:lnTo>
                  <a:lnTo>
                    <a:pt x="155" y="251"/>
                  </a:lnTo>
                  <a:lnTo>
                    <a:pt x="161" y="269"/>
                  </a:lnTo>
                  <a:lnTo>
                    <a:pt x="155" y="287"/>
                  </a:lnTo>
                  <a:lnTo>
                    <a:pt x="161" y="305"/>
                  </a:lnTo>
                  <a:lnTo>
                    <a:pt x="155" y="317"/>
                  </a:lnTo>
                  <a:lnTo>
                    <a:pt x="150" y="340"/>
                  </a:lnTo>
                  <a:lnTo>
                    <a:pt x="142" y="364"/>
                  </a:lnTo>
                  <a:lnTo>
                    <a:pt x="138" y="364"/>
                  </a:lnTo>
                  <a:lnTo>
                    <a:pt x="114" y="351"/>
                  </a:lnTo>
                  <a:lnTo>
                    <a:pt x="102" y="346"/>
                  </a:lnTo>
                  <a:lnTo>
                    <a:pt x="114" y="335"/>
                  </a:lnTo>
                  <a:lnTo>
                    <a:pt x="108" y="310"/>
                  </a:lnTo>
                  <a:lnTo>
                    <a:pt x="89" y="305"/>
                  </a:lnTo>
                  <a:lnTo>
                    <a:pt x="78" y="305"/>
                  </a:lnTo>
                  <a:lnTo>
                    <a:pt x="72" y="281"/>
                  </a:lnTo>
                  <a:lnTo>
                    <a:pt x="55" y="269"/>
                  </a:lnTo>
                  <a:lnTo>
                    <a:pt x="30" y="275"/>
                  </a:lnTo>
                  <a:lnTo>
                    <a:pt x="36" y="262"/>
                  </a:lnTo>
                  <a:lnTo>
                    <a:pt x="24" y="239"/>
                  </a:lnTo>
                  <a:lnTo>
                    <a:pt x="0" y="215"/>
                  </a:lnTo>
                  <a:lnTo>
                    <a:pt x="36" y="186"/>
                  </a:lnTo>
                  <a:lnTo>
                    <a:pt x="72" y="174"/>
                  </a:lnTo>
                  <a:lnTo>
                    <a:pt x="60" y="157"/>
                  </a:lnTo>
                  <a:lnTo>
                    <a:pt x="66" y="131"/>
                  </a:lnTo>
                  <a:lnTo>
                    <a:pt x="43" y="102"/>
                  </a:lnTo>
                  <a:lnTo>
                    <a:pt x="60" y="78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54" name="Freeform 160"/>
            <p:cNvSpPr>
              <a:spLocks/>
            </p:cNvSpPr>
            <p:nvPr/>
          </p:nvSpPr>
          <p:spPr bwMode="auto">
            <a:xfrm>
              <a:off x="1639" y="3791"/>
              <a:ext cx="215" cy="279"/>
            </a:xfrm>
            <a:custGeom>
              <a:avLst/>
              <a:gdLst>
                <a:gd name="T0" fmla="*/ 20126394 w 173"/>
                <a:gd name="T1" fmla="*/ 506 h 274"/>
                <a:gd name="T2" fmla="*/ 19442013 w 173"/>
                <a:gd name="T3" fmla="*/ 569 h 274"/>
                <a:gd name="T4" fmla="*/ 20922898 w 173"/>
                <a:gd name="T5" fmla="*/ 617 h 274"/>
                <a:gd name="T6" fmla="*/ 16399285 w 173"/>
                <a:gd name="T7" fmla="*/ 651 h 274"/>
                <a:gd name="T8" fmla="*/ 11885956 w 173"/>
                <a:gd name="T9" fmla="*/ 726 h 274"/>
                <a:gd name="T10" fmla="*/ 10386378 w 173"/>
                <a:gd name="T11" fmla="*/ 694 h 274"/>
                <a:gd name="T12" fmla="*/ 7322865 w 173"/>
                <a:gd name="T13" fmla="*/ 667 h 274"/>
                <a:gd name="T14" fmla="*/ 4569585 w 173"/>
                <a:gd name="T15" fmla="*/ 694 h 274"/>
                <a:gd name="T16" fmla="*/ 712914 w 173"/>
                <a:gd name="T17" fmla="*/ 726 h 274"/>
                <a:gd name="T18" fmla="*/ 2958641 w 173"/>
                <a:gd name="T19" fmla="*/ 634 h 274"/>
                <a:gd name="T20" fmla="*/ 3690901 w 173"/>
                <a:gd name="T21" fmla="*/ 583 h 274"/>
                <a:gd name="T22" fmla="*/ 5324161 w 173"/>
                <a:gd name="T23" fmla="*/ 506 h 274"/>
                <a:gd name="T24" fmla="*/ 7322865 w 173"/>
                <a:gd name="T25" fmla="*/ 423 h 274"/>
                <a:gd name="T26" fmla="*/ 9037685 w 173"/>
                <a:gd name="T27" fmla="*/ 413 h 274"/>
                <a:gd name="T28" fmla="*/ 9037685 w 173"/>
                <a:gd name="T29" fmla="*/ 393 h 274"/>
                <a:gd name="T30" fmla="*/ 2389724 w 173"/>
                <a:gd name="T31" fmla="*/ 413 h 274"/>
                <a:gd name="T32" fmla="*/ 5324161 w 173"/>
                <a:gd name="T33" fmla="*/ 365 h 274"/>
                <a:gd name="T34" fmla="*/ 4569585 w 173"/>
                <a:gd name="T35" fmla="*/ 315 h 274"/>
                <a:gd name="T36" fmla="*/ 5324161 w 173"/>
                <a:gd name="T37" fmla="*/ 265 h 274"/>
                <a:gd name="T38" fmla="*/ 3690901 w 173"/>
                <a:gd name="T39" fmla="*/ 242 h 274"/>
                <a:gd name="T40" fmla="*/ 1642973 w 173"/>
                <a:gd name="T41" fmla="*/ 228 h 274"/>
                <a:gd name="T42" fmla="*/ 0 w 173"/>
                <a:gd name="T43" fmla="*/ 184 h 274"/>
                <a:gd name="T44" fmla="*/ 712914 w 173"/>
                <a:gd name="T45" fmla="*/ 135 h 274"/>
                <a:gd name="T46" fmla="*/ 3690901 w 173"/>
                <a:gd name="T47" fmla="*/ 109 h 274"/>
                <a:gd name="T48" fmla="*/ 2958641 w 173"/>
                <a:gd name="T49" fmla="*/ 85 h 274"/>
                <a:gd name="T50" fmla="*/ 6106980 w 173"/>
                <a:gd name="T51" fmla="*/ 25 h 274"/>
                <a:gd name="T52" fmla="*/ 6682588 w 173"/>
                <a:gd name="T53" fmla="*/ 12 h 274"/>
                <a:gd name="T54" fmla="*/ 8304950 w 173"/>
                <a:gd name="T55" fmla="*/ 12 h 274"/>
                <a:gd name="T56" fmla="*/ 7322865 w 173"/>
                <a:gd name="T57" fmla="*/ 25 h 274"/>
                <a:gd name="T58" fmla="*/ 10386378 w 173"/>
                <a:gd name="T59" fmla="*/ 25 h 274"/>
                <a:gd name="T60" fmla="*/ 11885956 w 173"/>
                <a:gd name="T61" fmla="*/ 109 h 274"/>
                <a:gd name="T62" fmla="*/ 14282134 w 173"/>
                <a:gd name="T63" fmla="*/ 121 h 274"/>
                <a:gd name="T64" fmla="*/ 14946134 w 173"/>
                <a:gd name="T65" fmla="*/ 85 h 274"/>
                <a:gd name="T66" fmla="*/ 14282134 w 173"/>
                <a:gd name="T67" fmla="*/ 12 h 274"/>
                <a:gd name="T68" fmla="*/ 14946134 w 173"/>
                <a:gd name="T69" fmla="*/ 0 h 274"/>
                <a:gd name="T70" fmla="*/ 17347382 w 173"/>
                <a:gd name="T71" fmla="*/ 6 h 274"/>
                <a:gd name="T72" fmla="*/ 20126394 w 173"/>
                <a:gd name="T73" fmla="*/ 85 h 274"/>
                <a:gd name="T74" fmla="*/ 20922898 w 173"/>
                <a:gd name="T75" fmla="*/ 121 h 274"/>
                <a:gd name="T76" fmla="*/ 21666972 w 173"/>
                <a:gd name="T77" fmla="*/ 242 h 274"/>
                <a:gd name="T78" fmla="*/ 20922898 w 173"/>
                <a:gd name="T79" fmla="*/ 242 h 274"/>
                <a:gd name="T80" fmla="*/ 20126394 w 173"/>
                <a:gd name="T81" fmla="*/ 298 h 274"/>
                <a:gd name="T82" fmla="*/ 19442013 w 173"/>
                <a:gd name="T83" fmla="*/ 365 h 274"/>
                <a:gd name="T84" fmla="*/ 17347382 w 173"/>
                <a:gd name="T85" fmla="*/ 423 h 274"/>
                <a:gd name="T86" fmla="*/ 20126394 w 173"/>
                <a:gd name="T87" fmla="*/ 506 h 27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73"/>
                <a:gd name="T133" fmla="*/ 0 h 274"/>
                <a:gd name="T134" fmla="*/ 173 w 173"/>
                <a:gd name="T135" fmla="*/ 274 h 27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73" h="274">
                  <a:moveTo>
                    <a:pt x="161" y="190"/>
                  </a:moveTo>
                  <a:lnTo>
                    <a:pt x="155" y="215"/>
                  </a:lnTo>
                  <a:lnTo>
                    <a:pt x="167" y="233"/>
                  </a:lnTo>
                  <a:lnTo>
                    <a:pt x="131" y="245"/>
                  </a:lnTo>
                  <a:lnTo>
                    <a:pt x="95" y="274"/>
                  </a:lnTo>
                  <a:lnTo>
                    <a:pt x="83" y="262"/>
                  </a:lnTo>
                  <a:lnTo>
                    <a:pt x="59" y="251"/>
                  </a:lnTo>
                  <a:lnTo>
                    <a:pt x="36" y="262"/>
                  </a:lnTo>
                  <a:lnTo>
                    <a:pt x="6" y="274"/>
                  </a:lnTo>
                  <a:lnTo>
                    <a:pt x="23" y="239"/>
                  </a:lnTo>
                  <a:lnTo>
                    <a:pt x="30" y="220"/>
                  </a:lnTo>
                  <a:lnTo>
                    <a:pt x="42" y="190"/>
                  </a:lnTo>
                  <a:lnTo>
                    <a:pt x="59" y="161"/>
                  </a:lnTo>
                  <a:lnTo>
                    <a:pt x="72" y="156"/>
                  </a:lnTo>
                  <a:lnTo>
                    <a:pt x="72" y="148"/>
                  </a:lnTo>
                  <a:lnTo>
                    <a:pt x="19" y="156"/>
                  </a:lnTo>
                  <a:lnTo>
                    <a:pt x="42" y="137"/>
                  </a:lnTo>
                  <a:lnTo>
                    <a:pt x="36" y="120"/>
                  </a:lnTo>
                  <a:lnTo>
                    <a:pt x="42" y="101"/>
                  </a:lnTo>
                  <a:lnTo>
                    <a:pt x="30" y="91"/>
                  </a:lnTo>
                  <a:lnTo>
                    <a:pt x="13" y="84"/>
                  </a:lnTo>
                  <a:lnTo>
                    <a:pt x="0" y="72"/>
                  </a:lnTo>
                  <a:lnTo>
                    <a:pt x="6" y="55"/>
                  </a:lnTo>
                  <a:lnTo>
                    <a:pt x="30" y="42"/>
                  </a:lnTo>
                  <a:lnTo>
                    <a:pt x="23" y="30"/>
                  </a:lnTo>
                  <a:lnTo>
                    <a:pt x="49" y="25"/>
                  </a:lnTo>
                  <a:lnTo>
                    <a:pt x="53" y="12"/>
                  </a:lnTo>
                  <a:lnTo>
                    <a:pt x="66" y="12"/>
                  </a:lnTo>
                  <a:lnTo>
                    <a:pt x="59" y="25"/>
                  </a:lnTo>
                  <a:lnTo>
                    <a:pt x="83" y="25"/>
                  </a:lnTo>
                  <a:lnTo>
                    <a:pt x="95" y="42"/>
                  </a:lnTo>
                  <a:lnTo>
                    <a:pt x="114" y="48"/>
                  </a:lnTo>
                  <a:lnTo>
                    <a:pt x="119" y="30"/>
                  </a:lnTo>
                  <a:lnTo>
                    <a:pt x="114" y="12"/>
                  </a:lnTo>
                  <a:lnTo>
                    <a:pt x="119" y="0"/>
                  </a:lnTo>
                  <a:lnTo>
                    <a:pt x="138" y="6"/>
                  </a:lnTo>
                  <a:lnTo>
                    <a:pt x="161" y="30"/>
                  </a:lnTo>
                  <a:lnTo>
                    <a:pt x="167" y="48"/>
                  </a:lnTo>
                  <a:lnTo>
                    <a:pt x="173" y="91"/>
                  </a:lnTo>
                  <a:lnTo>
                    <a:pt x="167" y="91"/>
                  </a:lnTo>
                  <a:lnTo>
                    <a:pt x="161" y="114"/>
                  </a:lnTo>
                  <a:lnTo>
                    <a:pt x="155" y="137"/>
                  </a:lnTo>
                  <a:lnTo>
                    <a:pt x="138" y="161"/>
                  </a:lnTo>
                  <a:lnTo>
                    <a:pt x="161" y="19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55" name="Freeform 161"/>
            <p:cNvSpPr>
              <a:spLocks/>
            </p:cNvSpPr>
            <p:nvPr/>
          </p:nvSpPr>
          <p:spPr bwMode="auto">
            <a:xfrm>
              <a:off x="1418" y="3780"/>
              <a:ext cx="221" cy="205"/>
            </a:xfrm>
            <a:custGeom>
              <a:avLst/>
              <a:gdLst>
                <a:gd name="T0" fmla="*/ 5896187 w 179"/>
                <a:gd name="T1" fmla="*/ 144 h 201"/>
                <a:gd name="T2" fmla="*/ 4217406 w 179"/>
                <a:gd name="T3" fmla="*/ 114 h 201"/>
                <a:gd name="T4" fmla="*/ 4775644 w 179"/>
                <a:gd name="T5" fmla="*/ 23 h 201"/>
                <a:gd name="T6" fmla="*/ 4775644 w 179"/>
                <a:gd name="T7" fmla="*/ 11 h 201"/>
                <a:gd name="T8" fmla="*/ 2731829 w 179"/>
                <a:gd name="T9" fmla="*/ 17 h 201"/>
                <a:gd name="T10" fmla="*/ 2731829 w 179"/>
                <a:gd name="T11" fmla="*/ 0 h 201"/>
                <a:gd name="T12" fmla="*/ 1610446 w 179"/>
                <a:gd name="T13" fmla="*/ 11 h 201"/>
                <a:gd name="T14" fmla="*/ 512452 w 179"/>
                <a:gd name="T15" fmla="*/ 11 h 201"/>
                <a:gd name="T16" fmla="*/ 512452 w 179"/>
                <a:gd name="T17" fmla="*/ 104 h 201"/>
                <a:gd name="T18" fmla="*/ 0 w 179"/>
                <a:gd name="T19" fmla="*/ 162 h 201"/>
                <a:gd name="T20" fmla="*/ 1175700 w 179"/>
                <a:gd name="T21" fmla="*/ 177 h 201"/>
                <a:gd name="T22" fmla="*/ 1988316 w 179"/>
                <a:gd name="T23" fmla="*/ 162 h 201"/>
                <a:gd name="T24" fmla="*/ 1988316 w 179"/>
                <a:gd name="T25" fmla="*/ 226 h 201"/>
                <a:gd name="T26" fmla="*/ 3691905 w 179"/>
                <a:gd name="T27" fmla="*/ 185 h 201"/>
                <a:gd name="T28" fmla="*/ 4775644 w 179"/>
                <a:gd name="T29" fmla="*/ 226 h 201"/>
                <a:gd name="T30" fmla="*/ 4775644 w 179"/>
                <a:gd name="T31" fmla="*/ 240 h 201"/>
                <a:gd name="T32" fmla="*/ 6347609 w 179"/>
                <a:gd name="T33" fmla="*/ 226 h 201"/>
                <a:gd name="T34" fmla="*/ 7390334 w 179"/>
                <a:gd name="T35" fmla="*/ 240 h 201"/>
                <a:gd name="T36" fmla="*/ 8312350 w 179"/>
                <a:gd name="T37" fmla="*/ 270 h 201"/>
                <a:gd name="T38" fmla="*/ 8312350 w 179"/>
                <a:gd name="T39" fmla="*/ 291 h 201"/>
                <a:gd name="T40" fmla="*/ 7390334 w 179"/>
                <a:gd name="T41" fmla="*/ 321 h 201"/>
                <a:gd name="T42" fmla="*/ 7899108 w 179"/>
                <a:gd name="T43" fmla="*/ 342 h 201"/>
                <a:gd name="T44" fmla="*/ 7390334 w 179"/>
                <a:gd name="T45" fmla="*/ 363 h 201"/>
                <a:gd name="T46" fmla="*/ 7390334 w 179"/>
                <a:gd name="T47" fmla="*/ 393 h 201"/>
                <a:gd name="T48" fmla="*/ 6347609 w 179"/>
                <a:gd name="T49" fmla="*/ 381 h 201"/>
                <a:gd name="T50" fmla="*/ 5182028 w 179"/>
                <a:gd name="T51" fmla="*/ 363 h 201"/>
                <a:gd name="T52" fmla="*/ 5896187 w 179"/>
                <a:gd name="T53" fmla="*/ 321 h 201"/>
                <a:gd name="T54" fmla="*/ 5182028 w 179"/>
                <a:gd name="T55" fmla="*/ 291 h 201"/>
                <a:gd name="T56" fmla="*/ 3691905 w 179"/>
                <a:gd name="T57" fmla="*/ 291 h 201"/>
                <a:gd name="T58" fmla="*/ 2731829 w 179"/>
                <a:gd name="T59" fmla="*/ 240 h 201"/>
                <a:gd name="T60" fmla="*/ 1988316 w 179"/>
                <a:gd name="T61" fmla="*/ 226 h 201"/>
                <a:gd name="T62" fmla="*/ 2731829 w 179"/>
                <a:gd name="T63" fmla="*/ 303 h 201"/>
                <a:gd name="T64" fmla="*/ 2731829 w 179"/>
                <a:gd name="T65" fmla="*/ 363 h 201"/>
                <a:gd name="T66" fmla="*/ 3691905 w 179"/>
                <a:gd name="T67" fmla="*/ 381 h 201"/>
                <a:gd name="T68" fmla="*/ 4217406 w 179"/>
                <a:gd name="T69" fmla="*/ 425 h 201"/>
                <a:gd name="T70" fmla="*/ 6347609 w 179"/>
                <a:gd name="T71" fmla="*/ 393 h 201"/>
                <a:gd name="T72" fmla="*/ 6347609 w 179"/>
                <a:gd name="T73" fmla="*/ 447 h 201"/>
                <a:gd name="T74" fmla="*/ 7390334 w 179"/>
                <a:gd name="T75" fmla="*/ 458 h 201"/>
                <a:gd name="T76" fmla="*/ 7390334 w 179"/>
                <a:gd name="T77" fmla="*/ 483 h 201"/>
                <a:gd name="T78" fmla="*/ 6347609 w 179"/>
                <a:gd name="T79" fmla="*/ 518 h 201"/>
                <a:gd name="T80" fmla="*/ 5896187 w 179"/>
                <a:gd name="T81" fmla="*/ 579 h 201"/>
                <a:gd name="T82" fmla="*/ 7390334 w 179"/>
                <a:gd name="T83" fmla="*/ 533 h 201"/>
                <a:gd name="T84" fmla="*/ 8312350 w 179"/>
                <a:gd name="T85" fmla="*/ 483 h 201"/>
                <a:gd name="T86" fmla="*/ 9052767 w 179"/>
                <a:gd name="T87" fmla="*/ 442 h 201"/>
                <a:gd name="T88" fmla="*/ 10018835 w 179"/>
                <a:gd name="T89" fmla="*/ 409 h 201"/>
                <a:gd name="T90" fmla="*/ 10527424 w 179"/>
                <a:gd name="T91" fmla="*/ 393 h 201"/>
                <a:gd name="T92" fmla="*/ 11509543 w 179"/>
                <a:gd name="T93" fmla="*/ 393 h 201"/>
                <a:gd name="T94" fmla="*/ 12553285 w 179"/>
                <a:gd name="T95" fmla="*/ 442 h 201"/>
                <a:gd name="T96" fmla="*/ 12215192 w 179"/>
                <a:gd name="T97" fmla="*/ 483 h 201"/>
                <a:gd name="T98" fmla="*/ 13076306 w 179"/>
                <a:gd name="T99" fmla="*/ 518 h 201"/>
                <a:gd name="T100" fmla="*/ 14210098 w 179"/>
                <a:gd name="T101" fmla="*/ 498 h 201"/>
                <a:gd name="T102" fmla="*/ 15324905 w 179"/>
                <a:gd name="T103" fmla="*/ 458 h 201"/>
                <a:gd name="T104" fmla="*/ 15719031 w 179"/>
                <a:gd name="T105" fmla="*/ 409 h 201"/>
                <a:gd name="T106" fmla="*/ 15324905 w 179"/>
                <a:gd name="T107" fmla="*/ 363 h 201"/>
                <a:gd name="T108" fmla="*/ 15159039 w 179"/>
                <a:gd name="T109" fmla="*/ 321 h 201"/>
                <a:gd name="T110" fmla="*/ 13076306 w 179"/>
                <a:gd name="T111" fmla="*/ 321 h 201"/>
                <a:gd name="T112" fmla="*/ 11096562 w 179"/>
                <a:gd name="T113" fmla="*/ 342 h 201"/>
                <a:gd name="T114" fmla="*/ 12215192 w 179"/>
                <a:gd name="T115" fmla="*/ 303 h 201"/>
                <a:gd name="T116" fmla="*/ 12215192 w 179"/>
                <a:gd name="T117" fmla="*/ 291 h 201"/>
                <a:gd name="T118" fmla="*/ 11096562 w 179"/>
                <a:gd name="T119" fmla="*/ 255 h 201"/>
                <a:gd name="T120" fmla="*/ 8312350 w 179"/>
                <a:gd name="T121" fmla="*/ 226 h 201"/>
                <a:gd name="T122" fmla="*/ 7899108 w 179"/>
                <a:gd name="T123" fmla="*/ 144 h 201"/>
                <a:gd name="T124" fmla="*/ 5896187 w 179"/>
                <a:gd name="T125" fmla="*/ 144 h 201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79"/>
                <a:gd name="T190" fmla="*/ 0 h 201"/>
                <a:gd name="T191" fmla="*/ 179 w 179"/>
                <a:gd name="T192" fmla="*/ 201 h 201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79" h="201">
                  <a:moveTo>
                    <a:pt x="67" y="53"/>
                  </a:moveTo>
                  <a:lnTo>
                    <a:pt x="49" y="41"/>
                  </a:lnTo>
                  <a:lnTo>
                    <a:pt x="54" y="23"/>
                  </a:lnTo>
                  <a:lnTo>
                    <a:pt x="54" y="11"/>
                  </a:lnTo>
                  <a:lnTo>
                    <a:pt x="31" y="17"/>
                  </a:lnTo>
                  <a:lnTo>
                    <a:pt x="31" y="0"/>
                  </a:lnTo>
                  <a:lnTo>
                    <a:pt x="19" y="11"/>
                  </a:lnTo>
                  <a:lnTo>
                    <a:pt x="6" y="11"/>
                  </a:lnTo>
                  <a:lnTo>
                    <a:pt x="6" y="36"/>
                  </a:lnTo>
                  <a:lnTo>
                    <a:pt x="0" y="59"/>
                  </a:lnTo>
                  <a:lnTo>
                    <a:pt x="13" y="64"/>
                  </a:lnTo>
                  <a:lnTo>
                    <a:pt x="23" y="59"/>
                  </a:lnTo>
                  <a:lnTo>
                    <a:pt x="23" y="77"/>
                  </a:lnTo>
                  <a:lnTo>
                    <a:pt x="42" y="66"/>
                  </a:lnTo>
                  <a:lnTo>
                    <a:pt x="54" y="77"/>
                  </a:lnTo>
                  <a:lnTo>
                    <a:pt x="54" y="83"/>
                  </a:lnTo>
                  <a:lnTo>
                    <a:pt x="72" y="77"/>
                  </a:lnTo>
                  <a:lnTo>
                    <a:pt x="84" y="83"/>
                  </a:lnTo>
                  <a:lnTo>
                    <a:pt x="95" y="95"/>
                  </a:lnTo>
                  <a:lnTo>
                    <a:pt x="95" y="102"/>
                  </a:lnTo>
                  <a:lnTo>
                    <a:pt x="84" y="112"/>
                  </a:lnTo>
                  <a:lnTo>
                    <a:pt x="90" y="119"/>
                  </a:lnTo>
                  <a:lnTo>
                    <a:pt x="84" y="125"/>
                  </a:lnTo>
                  <a:lnTo>
                    <a:pt x="84" y="136"/>
                  </a:lnTo>
                  <a:lnTo>
                    <a:pt x="72" y="131"/>
                  </a:lnTo>
                  <a:lnTo>
                    <a:pt x="59" y="125"/>
                  </a:lnTo>
                  <a:lnTo>
                    <a:pt x="67" y="112"/>
                  </a:lnTo>
                  <a:lnTo>
                    <a:pt x="59" y="102"/>
                  </a:lnTo>
                  <a:lnTo>
                    <a:pt x="42" y="102"/>
                  </a:lnTo>
                  <a:lnTo>
                    <a:pt x="31" y="83"/>
                  </a:lnTo>
                  <a:lnTo>
                    <a:pt x="23" y="77"/>
                  </a:lnTo>
                  <a:lnTo>
                    <a:pt x="31" y="106"/>
                  </a:lnTo>
                  <a:lnTo>
                    <a:pt x="31" y="125"/>
                  </a:lnTo>
                  <a:lnTo>
                    <a:pt x="42" y="131"/>
                  </a:lnTo>
                  <a:lnTo>
                    <a:pt x="49" y="148"/>
                  </a:lnTo>
                  <a:lnTo>
                    <a:pt x="72" y="136"/>
                  </a:lnTo>
                  <a:lnTo>
                    <a:pt x="72" y="155"/>
                  </a:lnTo>
                  <a:lnTo>
                    <a:pt x="84" y="159"/>
                  </a:lnTo>
                  <a:lnTo>
                    <a:pt x="84" y="167"/>
                  </a:lnTo>
                  <a:lnTo>
                    <a:pt x="72" y="178"/>
                  </a:lnTo>
                  <a:lnTo>
                    <a:pt x="67" y="201"/>
                  </a:lnTo>
                  <a:lnTo>
                    <a:pt x="84" y="184"/>
                  </a:lnTo>
                  <a:lnTo>
                    <a:pt x="95" y="167"/>
                  </a:lnTo>
                  <a:lnTo>
                    <a:pt x="103" y="154"/>
                  </a:lnTo>
                  <a:lnTo>
                    <a:pt x="114" y="142"/>
                  </a:lnTo>
                  <a:lnTo>
                    <a:pt x="120" y="136"/>
                  </a:lnTo>
                  <a:lnTo>
                    <a:pt x="131" y="136"/>
                  </a:lnTo>
                  <a:lnTo>
                    <a:pt x="143" y="154"/>
                  </a:lnTo>
                  <a:lnTo>
                    <a:pt x="139" y="167"/>
                  </a:lnTo>
                  <a:lnTo>
                    <a:pt x="149" y="178"/>
                  </a:lnTo>
                  <a:lnTo>
                    <a:pt x="162" y="172"/>
                  </a:lnTo>
                  <a:lnTo>
                    <a:pt x="175" y="159"/>
                  </a:lnTo>
                  <a:lnTo>
                    <a:pt x="179" y="142"/>
                  </a:lnTo>
                  <a:lnTo>
                    <a:pt x="175" y="125"/>
                  </a:lnTo>
                  <a:lnTo>
                    <a:pt x="173" y="112"/>
                  </a:lnTo>
                  <a:lnTo>
                    <a:pt x="149" y="112"/>
                  </a:lnTo>
                  <a:lnTo>
                    <a:pt x="126" y="119"/>
                  </a:lnTo>
                  <a:lnTo>
                    <a:pt x="139" y="106"/>
                  </a:lnTo>
                  <a:lnTo>
                    <a:pt x="139" y="102"/>
                  </a:lnTo>
                  <a:lnTo>
                    <a:pt x="126" y="89"/>
                  </a:lnTo>
                  <a:lnTo>
                    <a:pt x="95" y="77"/>
                  </a:lnTo>
                  <a:lnTo>
                    <a:pt x="90" y="53"/>
                  </a:lnTo>
                  <a:lnTo>
                    <a:pt x="67" y="53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56" name="Freeform 162"/>
            <p:cNvSpPr>
              <a:spLocks/>
            </p:cNvSpPr>
            <p:nvPr/>
          </p:nvSpPr>
          <p:spPr bwMode="auto">
            <a:xfrm>
              <a:off x="1477" y="3748"/>
              <a:ext cx="162" cy="122"/>
            </a:xfrm>
            <a:custGeom>
              <a:avLst/>
              <a:gdLst>
                <a:gd name="T0" fmla="*/ 7439811 w 131"/>
                <a:gd name="T1" fmla="*/ 226 h 120"/>
                <a:gd name="T2" fmla="*/ 8501437 w 131"/>
                <a:gd name="T3" fmla="*/ 204 h 120"/>
                <a:gd name="T4" fmla="*/ 10404644 w 131"/>
                <a:gd name="T5" fmla="*/ 153 h 120"/>
                <a:gd name="T6" fmla="*/ 11377554 w 131"/>
                <a:gd name="T7" fmla="*/ 114 h 120"/>
                <a:gd name="T8" fmla="*/ 11988118 w 131"/>
                <a:gd name="T9" fmla="*/ 85 h 120"/>
                <a:gd name="T10" fmla="*/ 12450899 w 131"/>
                <a:gd name="T11" fmla="*/ 12 h 120"/>
                <a:gd name="T12" fmla="*/ 12450899 w 131"/>
                <a:gd name="T13" fmla="*/ 6 h 120"/>
                <a:gd name="T14" fmla="*/ 11377554 w 131"/>
                <a:gd name="T15" fmla="*/ 0 h 120"/>
                <a:gd name="T16" fmla="*/ 8501437 w 131"/>
                <a:gd name="T17" fmla="*/ 7 h 120"/>
                <a:gd name="T18" fmla="*/ 7941204 w 131"/>
                <a:gd name="T19" fmla="*/ 6 h 120"/>
                <a:gd name="T20" fmla="*/ 4495331 w 131"/>
                <a:gd name="T21" fmla="*/ 7 h 120"/>
                <a:gd name="T22" fmla="*/ 3477791 w 131"/>
                <a:gd name="T23" fmla="*/ 12 h 120"/>
                <a:gd name="T24" fmla="*/ 2352463 w 131"/>
                <a:gd name="T25" fmla="*/ 7 h 120"/>
                <a:gd name="T26" fmla="*/ 1772389 w 131"/>
                <a:gd name="T27" fmla="*/ 0 h 120"/>
                <a:gd name="T28" fmla="*/ 565935 w 131"/>
                <a:gd name="T29" fmla="*/ 7 h 120"/>
                <a:gd name="T30" fmla="*/ 0 w 131"/>
                <a:gd name="T31" fmla="*/ 19 h 120"/>
                <a:gd name="T32" fmla="*/ 565935 w 131"/>
                <a:gd name="T33" fmla="*/ 25 h 120"/>
                <a:gd name="T34" fmla="*/ 1772389 w 131"/>
                <a:gd name="T35" fmla="*/ 102 h 120"/>
                <a:gd name="T36" fmla="*/ 565935 w 131"/>
                <a:gd name="T37" fmla="*/ 140 h 120"/>
                <a:gd name="T38" fmla="*/ 0 w 131"/>
                <a:gd name="T39" fmla="*/ 168 h 120"/>
                <a:gd name="T40" fmla="*/ 1772389 w 131"/>
                <a:gd name="T41" fmla="*/ 204 h 120"/>
                <a:gd name="T42" fmla="*/ 4012982 w 131"/>
                <a:gd name="T43" fmla="*/ 204 h 120"/>
                <a:gd name="T44" fmla="*/ 4495331 w 131"/>
                <a:gd name="T45" fmla="*/ 262 h 120"/>
                <a:gd name="T46" fmla="*/ 7439811 w 131"/>
                <a:gd name="T47" fmla="*/ 290 h 120"/>
                <a:gd name="T48" fmla="*/ 7439811 w 131"/>
                <a:gd name="T49" fmla="*/ 226 h 120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31"/>
                <a:gd name="T76" fmla="*/ 0 h 120"/>
                <a:gd name="T77" fmla="*/ 131 w 131"/>
                <a:gd name="T78" fmla="*/ 120 h 120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31" h="120">
                  <a:moveTo>
                    <a:pt x="78" y="90"/>
                  </a:moveTo>
                  <a:lnTo>
                    <a:pt x="89" y="84"/>
                  </a:lnTo>
                  <a:lnTo>
                    <a:pt x="108" y="67"/>
                  </a:lnTo>
                  <a:lnTo>
                    <a:pt x="119" y="48"/>
                  </a:lnTo>
                  <a:lnTo>
                    <a:pt x="125" y="31"/>
                  </a:lnTo>
                  <a:lnTo>
                    <a:pt x="131" y="12"/>
                  </a:lnTo>
                  <a:lnTo>
                    <a:pt x="131" y="6"/>
                  </a:lnTo>
                  <a:lnTo>
                    <a:pt x="119" y="0"/>
                  </a:lnTo>
                  <a:lnTo>
                    <a:pt x="89" y="7"/>
                  </a:lnTo>
                  <a:lnTo>
                    <a:pt x="83" y="6"/>
                  </a:lnTo>
                  <a:lnTo>
                    <a:pt x="47" y="7"/>
                  </a:lnTo>
                  <a:lnTo>
                    <a:pt x="36" y="12"/>
                  </a:lnTo>
                  <a:lnTo>
                    <a:pt x="24" y="7"/>
                  </a:lnTo>
                  <a:lnTo>
                    <a:pt x="19" y="0"/>
                  </a:lnTo>
                  <a:lnTo>
                    <a:pt x="6" y="7"/>
                  </a:lnTo>
                  <a:lnTo>
                    <a:pt x="0" y="19"/>
                  </a:lnTo>
                  <a:lnTo>
                    <a:pt x="6" y="25"/>
                  </a:lnTo>
                  <a:lnTo>
                    <a:pt x="19" y="42"/>
                  </a:lnTo>
                  <a:lnTo>
                    <a:pt x="6" y="61"/>
                  </a:lnTo>
                  <a:lnTo>
                    <a:pt x="0" y="72"/>
                  </a:lnTo>
                  <a:lnTo>
                    <a:pt x="19" y="84"/>
                  </a:lnTo>
                  <a:lnTo>
                    <a:pt x="42" y="84"/>
                  </a:lnTo>
                  <a:lnTo>
                    <a:pt x="47" y="108"/>
                  </a:lnTo>
                  <a:lnTo>
                    <a:pt x="78" y="120"/>
                  </a:lnTo>
                  <a:lnTo>
                    <a:pt x="78" y="9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57" name="Freeform 163"/>
            <p:cNvSpPr>
              <a:spLocks/>
            </p:cNvSpPr>
            <p:nvPr/>
          </p:nvSpPr>
          <p:spPr bwMode="auto">
            <a:xfrm>
              <a:off x="3651" y="1704"/>
              <a:ext cx="324" cy="408"/>
            </a:xfrm>
            <a:custGeom>
              <a:avLst/>
              <a:gdLst>
                <a:gd name="T0" fmla="*/ 17664467 w 262"/>
                <a:gd name="T1" fmla="*/ 1114 h 400"/>
                <a:gd name="T2" fmla="*/ 13001075 w 262"/>
                <a:gd name="T3" fmla="*/ 1164 h 400"/>
                <a:gd name="T4" fmla="*/ 13001075 w 262"/>
                <a:gd name="T5" fmla="*/ 1097 h 400"/>
                <a:gd name="T6" fmla="*/ 5569550 w 262"/>
                <a:gd name="T7" fmla="*/ 1097 h 400"/>
                <a:gd name="T8" fmla="*/ 4495331 w 262"/>
                <a:gd name="T9" fmla="*/ 1044 h 400"/>
                <a:gd name="T10" fmla="*/ 4495331 w 262"/>
                <a:gd name="T11" fmla="*/ 940 h 400"/>
                <a:gd name="T12" fmla="*/ 3245067 w 262"/>
                <a:gd name="T13" fmla="*/ 918 h 400"/>
                <a:gd name="T14" fmla="*/ 1636761 w 262"/>
                <a:gd name="T15" fmla="*/ 642 h 400"/>
                <a:gd name="T16" fmla="*/ 1636761 w 262"/>
                <a:gd name="T17" fmla="*/ 542 h 400"/>
                <a:gd name="T18" fmla="*/ 1636761 w 262"/>
                <a:gd name="T19" fmla="*/ 486 h 400"/>
                <a:gd name="T20" fmla="*/ 2909151 w 262"/>
                <a:gd name="T21" fmla="*/ 467 h 400"/>
                <a:gd name="T22" fmla="*/ 457639 w 262"/>
                <a:gd name="T23" fmla="*/ 375 h 400"/>
                <a:gd name="T24" fmla="*/ 457639 w 262"/>
                <a:gd name="T25" fmla="*/ 229 h 400"/>
                <a:gd name="T26" fmla="*/ 4495331 w 262"/>
                <a:gd name="T27" fmla="*/ 133 h 400"/>
                <a:gd name="T28" fmla="*/ 6803623 w 262"/>
                <a:gd name="T29" fmla="*/ 130 h 400"/>
                <a:gd name="T30" fmla="*/ 11377554 w 262"/>
                <a:gd name="T31" fmla="*/ 19 h 400"/>
                <a:gd name="T32" fmla="*/ 12450899 w 262"/>
                <a:gd name="T33" fmla="*/ 0 h 400"/>
                <a:gd name="T34" fmla="*/ 14133709 w 262"/>
                <a:gd name="T35" fmla="*/ 13 h 400"/>
                <a:gd name="T36" fmla="*/ 14824992 w 262"/>
                <a:gd name="T37" fmla="*/ 93 h 400"/>
                <a:gd name="T38" fmla="*/ 17028280 w 262"/>
                <a:gd name="T39" fmla="*/ 133 h 400"/>
                <a:gd name="T40" fmla="*/ 18289930 w 262"/>
                <a:gd name="T41" fmla="*/ 262 h 400"/>
                <a:gd name="T42" fmla="*/ 21614391 w 262"/>
                <a:gd name="T43" fmla="*/ 400 h 400"/>
                <a:gd name="T44" fmla="*/ 22197274 w 262"/>
                <a:gd name="T45" fmla="*/ 507 h 400"/>
                <a:gd name="T46" fmla="*/ 23317888 w 262"/>
                <a:gd name="T47" fmla="*/ 507 h 400"/>
                <a:gd name="T48" fmla="*/ 23847032 w 262"/>
                <a:gd name="T49" fmla="*/ 542 h 400"/>
                <a:gd name="T50" fmla="*/ 23317888 w 262"/>
                <a:gd name="T51" fmla="*/ 629 h 400"/>
                <a:gd name="T52" fmla="*/ 25076490 w 262"/>
                <a:gd name="T53" fmla="*/ 629 h 400"/>
                <a:gd name="T54" fmla="*/ 23847032 w 262"/>
                <a:gd name="T55" fmla="*/ 696 h 400"/>
                <a:gd name="T56" fmla="*/ 24575700 w 262"/>
                <a:gd name="T57" fmla="*/ 744 h 400"/>
                <a:gd name="T58" fmla="*/ 23317888 w 262"/>
                <a:gd name="T59" fmla="*/ 819 h 400"/>
                <a:gd name="T60" fmla="*/ 23847032 w 262"/>
                <a:gd name="T61" fmla="*/ 869 h 400"/>
                <a:gd name="T62" fmla="*/ 23317888 w 262"/>
                <a:gd name="T63" fmla="*/ 904 h 400"/>
                <a:gd name="T64" fmla="*/ 23329720 w 262"/>
                <a:gd name="T65" fmla="*/ 924 h 400"/>
                <a:gd name="T66" fmla="*/ 22197274 w 262"/>
                <a:gd name="T67" fmla="*/ 922 h 400"/>
                <a:gd name="T68" fmla="*/ 21614391 w 262"/>
                <a:gd name="T69" fmla="*/ 940 h 400"/>
                <a:gd name="T70" fmla="*/ 21469833 w 262"/>
                <a:gd name="T71" fmla="*/ 992 h 400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62"/>
                <a:gd name="T109" fmla="*/ 0 h 400"/>
                <a:gd name="T110" fmla="*/ 262 w 262"/>
                <a:gd name="T111" fmla="*/ 400 h 400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62" h="400">
                  <a:moveTo>
                    <a:pt x="191" y="340"/>
                  </a:moveTo>
                  <a:lnTo>
                    <a:pt x="184" y="382"/>
                  </a:lnTo>
                  <a:lnTo>
                    <a:pt x="159" y="376"/>
                  </a:lnTo>
                  <a:lnTo>
                    <a:pt x="136" y="400"/>
                  </a:lnTo>
                  <a:lnTo>
                    <a:pt x="125" y="395"/>
                  </a:lnTo>
                  <a:lnTo>
                    <a:pt x="136" y="376"/>
                  </a:lnTo>
                  <a:lnTo>
                    <a:pt x="89" y="382"/>
                  </a:lnTo>
                  <a:lnTo>
                    <a:pt x="59" y="376"/>
                  </a:lnTo>
                  <a:lnTo>
                    <a:pt x="64" y="364"/>
                  </a:lnTo>
                  <a:lnTo>
                    <a:pt x="47" y="359"/>
                  </a:lnTo>
                  <a:lnTo>
                    <a:pt x="41" y="341"/>
                  </a:lnTo>
                  <a:lnTo>
                    <a:pt x="47" y="323"/>
                  </a:lnTo>
                  <a:lnTo>
                    <a:pt x="38" y="318"/>
                  </a:lnTo>
                  <a:lnTo>
                    <a:pt x="34" y="315"/>
                  </a:lnTo>
                  <a:lnTo>
                    <a:pt x="5" y="281"/>
                  </a:lnTo>
                  <a:lnTo>
                    <a:pt x="17" y="220"/>
                  </a:lnTo>
                  <a:lnTo>
                    <a:pt x="5" y="203"/>
                  </a:lnTo>
                  <a:lnTo>
                    <a:pt x="17" y="186"/>
                  </a:lnTo>
                  <a:lnTo>
                    <a:pt x="5" y="179"/>
                  </a:lnTo>
                  <a:lnTo>
                    <a:pt x="17" y="167"/>
                  </a:lnTo>
                  <a:lnTo>
                    <a:pt x="30" y="167"/>
                  </a:lnTo>
                  <a:lnTo>
                    <a:pt x="30" y="161"/>
                  </a:lnTo>
                  <a:lnTo>
                    <a:pt x="13" y="144"/>
                  </a:lnTo>
                  <a:lnTo>
                    <a:pt x="5" y="128"/>
                  </a:lnTo>
                  <a:lnTo>
                    <a:pt x="0" y="114"/>
                  </a:lnTo>
                  <a:lnTo>
                    <a:pt x="5" y="78"/>
                  </a:lnTo>
                  <a:lnTo>
                    <a:pt x="30" y="78"/>
                  </a:lnTo>
                  <a:lnTo>
                    <a:pt x="47" y="49"/>
                  </a:lnTo>
                  <a:lnTo>
                    <a:pt x="66" y="37"/>
                  </a:lnTo>
                  <a:lnTo>
                    <a:pt x="70" y="48"/>
                  </a:lnTo>
                  <a:lnTo>
                    <a:pt x="89" y="25"/>
                  </a:lnTo>
                  <a:lnTo>
                    <a:pt x="119" y="19"/>
                  </a:lnTo>
                  <a:lnTo>
                    <a:pt x="131" y="7"/>
                  </a:lnTo>
                  <a:lnTo>
                    <a:pt x="131" y="0"/>
                  </a:lnTo>
                  <a:lnTo>
                    <a:pt x="142" y="9"/>
                  </a:lnTo>
                  <a:lnTo>
                    <a:pt x="148" y="13"/>
                  </a:lnTo>
                  <a:lnTo>
                    <a:pt x="155" y="13"/>
                  </a:lnTo>
                  <a:lnTo>
                    <a:pt x="155" y="30"/>
                  </a:lnTo>
                  <a:lnTo>
                    <a:pt x="172" y="37"/>
                  </a:lnTo>
                  <a:lnTo>
                    <a:pt x="178" y="49"/>
                  </a:lnTo>
                  <a:lnTo>
                    <a:pt x="188" y="84"/>
                  </a:lnTo>
                  <a:lnTo>
                    <a:pt x="191" y="91"/>
                  </a:lnTo>
                  <a:lnTo>
                    <a:pt x="214" y="127"/>
                  </a:lnTo>
                  <a:lnTo>
                    <a:pt x="226" y="138"/>
                  </a:lnTo>
                  <a:lnTo>
                    <a:pt x="231" y="163"/>
                  </a:lnTo>
                  <a:lnTo>
                    <a:pt x="231" y="174"/>
                  </a:lnTo>
                  <a:lnTo>
                    <a:pt x="226" y="186"/>
                  </a:lnTo>
                  <a:lnTo>
                    <a:pt x="243" y="174"/>
                  </a:lnTo>
                  <a:lnTo>
                    <a:pt x="243" y="186"/>
                  </a:lnTo>
                  <a:lnTo>
                    <a:pt x="249" y="186"/>
                  </a:lnTo>
                  <a:lnTo>
                    <a:pt x="244" y="197"/>
                  </a:lnTo>
                  <a:lnTo>
                    <a:pt x="243" y="216"/>
                  </a:lnTo>
                  <a:lnTo>
                    <a:pt x="256" y="210"/>
                  </a:lnTo>
                  <a:lnTo>
                    <a:pt x="262" y="216"/>
                  </a:lnTo>
                  <a:lnTo>
                    <a:pt x="237" y="228"/>
                  </a:lnTo>
                  <a:lnTo>
                    <a:pt x="249" y="239"/>
                  </a:lnTo>
                  <a:lnTo>
                    <a:pt x="243" y="256"/>
                  </a:lnTo>
                  <a:lnTo>
                    <a:pt x="256" y="256"/>
                  </a:lnTo>
                  <a:lnTo>
                    <a:pt x="256" y="269"/>
                  </a:lnTo>
                  <a:lnTo>
                    <a:pt x="243" y="281"/>
                  </a:lnTo>
                  <a:lnTo>
                    <a:pt x="249" y="292"/>
                  </a:lnTo>
                  <a:lnTo>
                    <a:pt x="249" y="299"/>
                  </a:lnTo>
                  <a:lnTo>
                    <a:pt x="243" y="299"/>
                  </a:lnTo>
                  <a:lnTo>
                    <a:pt x="243" y="311"/>
                  </a:lnTo>
                  <a:lnTo>
                    <a:pt x="249" y="315"/>
                  </a:lnTo>
                  <a:lnTo>
                    <a:pt x="244" y="318"/>
                  </a:lnTo>
                  <a:lnTo>
                    <a:pt x="237" y="323"/>
                  </a:lnTo>
                  <a:lnTo>
                    <a:pt x="231" y="317"/>
                  </a:lnTo>
                  <a:lnTo>
                    <a:pt x="226" y="315"/>
                  </a:lnTo>
                  <a:lnTo>
                    <a:pt x="226" y="323"/>
                  </a:lnTo>
                  <a:lnTo>
                    <a:pt x="208" y="328"/>
                  </a:lnTo>
                  <a:lnTo>
                    <a:pt x="224" y="340"/>
                  </a:lnTo>
                  <a:lnTo>
                    <a:pt x="191" y="34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58" name="Freeform 164"/>
            <p:cNvSpPr>
              <a:spLocks/>
            </p:cNvSpPr>
            <p:nvPr/>
          </p:nvSpPr>
          <p:spPr bwMode="auto">
            <a:xfrm>
              <a:off x="3479" y="2087"/>
              <a:ext cx="245" cy="316"/>
            </a:xfrm>
            <a:custGeom>
              <a:avLst/>
              <a:gdLst>
                <a:gd name="T0" fmla="*/ 14991144 w 199"/>
                <a:gd name="T1" fmla="*/ 300 h 311"/>
                <a:gd name="T2" fmla="*/ 14574541 w 199"/>
                <a:gd name="T3" fmla="*/ 276 h 311"/>
                <a:gd name="T4" fmla="*/ 13076796 w 199"/>
                <a:gd name="T5" fmla="*/ 243 h 311"/>
                <a:gd name="T6" fmla="*/ 14036280 w 199"/>
                <a:gd name="T7" fmla="*/ 210 h 311"/>
                <a:gd name="T8" fmla="*/ 13076796 w 199"/>
                <a:gd name="T9" fmla="*/ 112 h 311"/>
                <a:gd name="T10" fmla="*/ 11377063 w 199"/>
                <a:gd name="T11" fmla="*/ 29 h 311"/>
                <a:gd name="T12" fmla="*/ 10108074 w 199"/>
                <a:gd name="T13" fmla="*/ 13 h 311"/>
                <a:gd name="T14" fmla="*/ 8679756 w 199"/>
                <a:gd name="T15" fmla="*/ 6 h 311"/>
                <a:gd name="T16" fmla="*/ 6421468 w 199"/>
                <a:gd name="T17" fmla="*/ 19 h 311"/>
                <a:gd name="T18" fmla="*/ 4236513 w 199"/>
                <a:gd name="T19" fmla="*/ 0 h 311"/>
                <a:gd name="T20" fmla="*/ 3372104 w 199"/>
                <a:gd name="T21" fmla="*/ 0 h 311"/>
                <a:gd name="T22" fmla="*/ 1956433 w 199"/>
                <a:gd name="T23" fmla="*/ 13 h 311"/>
                <a:gd name="T24" fmla="*/ 2044206 w 199"/>
                <a:gd name="T25" fmla="*/ 128 h 311"/>
                <a:gd name="T26" fmla="*/ 1860390 w 199"/>
                <a:gd name="T27" fmla="*/ 180 h 311"/>
                <a:gd name="T28" fmla="*/ 1530322 w 199"/>
                <a:gd name="T29" fmla="*/ 255 h 311"/>
                <a:gd name="T30" fmla="*/ 691672 w 199"/>
                <a:gd name="T31" fmla="*/ 308 h 311"/>
                <a:gd name="T32" fmla="*/ 0 w 199"/>
                <a:gd name="T33" fmla="*/ 349 h 311"/>
                <a:gd name="T34" fmla="*/ 2408674 w 199"/>
                <a:gd name="T35" fmla="*/ 349 h 311"/>
                <a:gd name="T36" fmla="*/ 3372104 w 199"/>
                <a:gd name="T37" fmla="*/ 409 h 311"/>
                <a:gd name="T38" fmla="*/ 6096654 w 199"/>
                <a:gd name="T39" fmla="*/ 449 h 311"/>
                <a:gd name="T40" fmla="*/ 4761938 w 199"/>
                <a:gd name="T41" fmla="*/ 494 h 311"/>
                <a:gd name="T42" fmla="*/ 3664294 w 199"/>
                <a:gd name="T43" fmla="*/ 543 h 311"/>
                <a:gd name="T44" fmla="*/ 3372104 w 199"/>
                <a:gd name="T45" fmla="*/ 563 h 311"/>
                <a:gd name="T46" fmla="*/ 3814729 w 199"/>
                <a:gd name="T47" fmla="*/ 667 h 311"/>
                <a:gd name="T48" fmla="*/ 4236513 w 199"/>
                <a:gd name="T49" fmla="*/ 706 h 311"/>
                <a:gd name="T50" fmla="*/ 5533879 w 199"/>
                <a:gd name="T51" fmla="*/ 706 h 311"/>
                <a:gd name="T52" fmla="*/ 6152697 w 199"/>
                <a:gd name="T53" fmla="*/ 722 h 311"/>
                <a:gd name="T54" fmla="*/ 6421468 w 199"/>
                <a:gd name="T55" fmla="*/ 729 h 311"/>
                <a:gd name="T56" fmla="*/ 8210233 w 199"/>
                <a:gd name="T57" fmla="*/ 717 h 311"/>
                <a:gd name="T58" fmla="*/ 8786089 w 199"/>
                <a:gd name="T59" fmla="*/ 703 h 311"/>
                <a:gd name="T60" fmla="*/ 9538177 w 199"/>
                <a:gd name="T61" fmla="*/ 717 h 311"/>
                <a:gd name="T62" fmla="*/ 11481642 w 199"/>
                <a:gd name="T63" fmla="*/ 734 h 311"/>
                <a:gd name="T64" fmla="*/ 12760507 w 199"/>
                <a:gd name="T65" fmla="*/ 706 h 311"/>
                <a:gd name="T66" fmla="*/ 13076796 w 199"/>
                <a:gd name="T67" fmla="*/ 667 h 311"/>
                <a:gd name="T68" fmla="*/ 12760507 w 199"/>
                <a:gd name="T69" fmla="*/ 588 h 311"/>
                <a:gd name="T70" fmla="*/ 12760507 w 199"/>
                <a:gd name="T71" fmla="*/ 579 h 311"/>
                <a:gd name="T72" fmla="*/ 14036280 w 199"/>
                <a:gd name="T73" fmla="*/ 524 h 311"/>
                <a:gd name="T74" fmla="*/ 14036280 w 199"/>
                <a:gd name="T75" fmla="*/ 494 h 311"/>
                <a:gd name="T76" fmla="*/ 13668361 w 199"/>
                <a:gd name="T77" fmla="*/ 449 h 311"/>
                <a:gd name="T78" fmla="*/ 14991144 w 199"/>
                <a:gd name="T79" fmla="*/ 383 h 311"/>
                <a:gd name="T80" fmla="*/ 14991144 w 199"/>
                <a:gd name="T81" fmla="*/ 300 h 311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99"/>
                <a:gd name="T124" fmla="*/ 0 h 311"/>
                <a:gd name="T125" fmla="*/ 199 w 199"/>
                <a:gd name="T126" fmla="*/ 311 h 311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99" h="311">
                  <a:moveTo>
                    <a:pt x="199" y="129"/>
                  </a:moveTo>
                  <a:lnTo>
                    <a:pt x="193" y="119"/>
                  </a:lnTo>
                  <a:lnTo>
                    <a:pt x="174" y="102"/>
                  </a:lnTo>
                  <a:lnTo>
                    <a:pt x="187" y="89"/>
                  </a:lnTo>
                  <a:lnTo>
                    <a:pt x="174" y="49"/>
                  </a:lnTo>
                  <a:lnTo>
                    <a:pt x="151" y="29"/>
                  </a:lnTo>
                  <a:lnTo>
                    <a:pt x="134" y="13"/>
                  </a:lnTo>
                  <a:lnTo>
                    <a:pt x="115" y="6"/>
                  </a:lnTo>
                  <a:lnTo>
                    <a:pt x="85" y="19"/>
                  </a:lnTo>
                  <a:lnTo>
                    <a:pt x="56" y="0"/>
                  </a:lnTo>
                  <a:lnTo>
                    <a:pt x="45" y="0"/>
                  </a:lnTo>
                  <a:lnTo>
                    <a:pt x="26" y="13"/>
                  </a:lnTo>
                  <a:lnTo>
                    <a:pt x="27" y="57"/>
                  </a:lnTo>
                  <a:lnTo>
                    <a:pt x="24" y="79"/>
                  </a:lnTo>
                  <a:lnTo>
                    <a:pt x="20" y="108"/>
                  </a:lnTo>
                  <a:lnTo>
                    <a:pt x="9" y="132"/>
                  </a:lnTo>
                  <a:lnTo>
                    <a:pt x="0" y="148"/>
                  </a:lnTo>
                  <a:lnTo>
                    <a:pt x="32" y="148"/>
                  </a:lnTo>
                  <a:lnTo>
                    <a:pt x="45" y="174"/>
                  </a:lnTo>
                  <a:lnTo>
                    <a:pt x="81" y="191"/>
                  </a:lnTo>
                  <a:lnTo>
                    <a:pt x="63" y="209"/>
                  </a:lnTo>
                  <a:lnTo>
                    <a:pt x="49" y="230"/>
                  </a:lnTo>
                  <a:lnTo>
                    <a:pt x="45" y="239"/>
                  </a:lnTo>
                  <a:lnTo>
                    <a:pt x="50" y="281"/>
                  </a:lnTo>
                  <a:lnTo>
                    <a:pt x="56" y="299"/>
                  </a:lnTo>
                  <a:lnTo>
                    <a:pt x="73" y="299"/>
                  </a:lnTo>
                  <a:lnTo>
                    <a:pt x="82" y="306"/>
                  </a:lnTo>
                  <a:lnTo>
                    <a:pt x="85" y="309"/>
                  </a:lnTo>
                  <a:lnTo>
                    <a:pt x="109" y="304"/>
                  </a:lnTo>
                  <a:lnTo>
                    <a:pt x="117" y="298"/>
                  </a:lnTo>
                  <a:lnTo>
                    <a:pt x="127" y="304"/>
                  </a:lnTo>
                  <a:lnTo>
                    <a:pt x="153" y="311"/>
                  </a:lnTo>
                  <a:lnTo>
                    <a:pt x="170" y="299"/>
                  </a:lnTo>
                  <a:lnTo>
                    <a:pt x="174" y="281"/>
                  </a:lnTo>
                  <a:lnTo>
                    <a:pt x="170" y="250"/>
                  </a:lnTo>
                  <a:lnTo>
                    <a:pt x="170" y="246"/>
                  </a:lnTo>
                  <a:lnTo>
                    <a:pt x="187" y="220"/>
                  </a:lnTo>
                  <a:lnTo>
                    <a:pt x="187" y="209"/>
                  </a:lnTo>
                  <a:lnTo>
                    <a:pt x="181" y="191"/>
                  </a:lnTo>
                  <a:lnTo>
                    <a:pt x="199" y="161"/>
                  </a:lnTo>
                  <a:lnTo>
                    <a:pt x="199" y="129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59" name="Freeform 165"/>
            <p:cNvSpPr>
              <a:spLocks/>
            </p:cNvSpPr>
            <p:nvPr/>
          </p:nvSpPr>
          <p:spPr bwMode="auto">
            <a:xfrm>
              <a:off x="3162" y="2239"/>
              <a:ext cx="415" cy="474"/>
            </a:xfrm>
            <a:custGeom>
              <a:avLst/>
              <a:gdLst>
                <a:gd name="T0" fmla="*/ 26655154 w 336"/>
                <a:gd name="T1" fmla="*/ 20 h 466"/>
                <a:gd name="T2" fmla="*/ 30136726 w 336"/>
                <a:gd name="T3" fmla="*/ 106 h 466"/>
                <a:gd name="T4" fmla="*/ 28491864 w 336"/>
                <a:gd name="T5" fmla="*/ 142 h 466"/>
                <a:gd name="T6" fmla="*/ 27360278 w 336"/>
                <a:gd name="T7" fmla="*/ 330 h 466"/>
                <a:gd name="T8" fmla="*/ 29346289 w 336"/>
                <a:gd name="T9" fmla="*/ 378 h 466"/>
                <a:gd name="T10" fmla="*/ 28942969 w 336"/>
                <a:gd name="T11" fmla="*/ 480 h 466"/>
                <a:gd name="T12" fmla="*/ 28491864 w 336"/>
                <a:gd name="T13" fmla="*/ 581 h 466"/>
                <a:gd name="T14" fmla="*/ 25691564 w 336"/>
                <a:gd name="T15" fmla="*/ 611 h 466"/>
                <a:gd name="T16" fmla="*/ 23194589 w 336"/>
                <a:gd name="T17" fmla="*/ 663 h 466"/>
                <a:gd name="T18" fmla="*/ 24076384 w 336"/>
                <a:gd name="T19" fmla="*/ 749 h 466"/>
                <a:gd name="T20" fmla="*/ 23704525 w 336"/>
                <a:gd name="T21" fmla="*/ 838 h 466"/>
                <a:gd name="T22" fmla="*/ 25192576 w 336"/>
                <a:gd name="T23" fmla="*/ 868 h 466"/>
                <a:gd name="T24" fmla="*/ 23194589 w 336"/>
                <a:gd name="T25" fmla="*/ 883 h 466"/>
                <a:gd name="T26" fmla="*/ 20566291 w 336"/>
                <a:gd name="T27" fmla="*/ 1016 h 466"/>
                <a:gd name="T28" fmla="*/ 17237676 w 336"/>
                <a:gd name="T29" fmla="*/ 1093 h 466"/>
                <a:gd name="T30" fmla="*/ 14570057 w 336"/>
                <a:gd name="T31" fmla="*/ 1046 h 466"/>
                <a:gd name="T32" fmla="*/ 13393898 w 336"/>
                <a:gd name="T33" fmla="*/ 970 h 466"/>
                <a:gd name="T34" fmla="*/ 10763639 w 336"/>
                <a:gd name="T35" fmla="*/ 1062 h 466"/>
                <a:gd name="T36" fmla="*/ 7016104 w 336"/>
                <a:gd name="T37" fmla="*/ 1093 h 466"/>
                <a:gd name="T38" fmla="*/ 6535553 w 336"/>
                <a:gd name="T39" fmla="*/ 1123 h 466"/>
                <a:gd name="T40" fmla="*/ 6088515 w 336"/>
                <a:gd name="T41" fmla="*/ 1062 h 466"/>
                <a:gd name="T42" fmla="*/ 2346047 w 336"/>
                <a:gd name="T43" fmla="*/ 1139 h 466"/>
                <a:gd name="T44" fmla="*/ 1198846 w 336"/>
                <a:gd name="T45" fmla="*/ 1108 h 466"/>
                <a:gd name="T46" fmla="*/ 1976258 w 336"/>
                <a:gd name="T47" fmla="*/ 1044 h 466"/>
                <a:gd name="T48" fmla="*/ 4929498 w 336"/>
                <a:gd name="T49" fmla="*/ 992 h 466"/>
                <a:gd name="T50" fmla="*/ 8708270 w 336"/>
                <a:gd name="T51" fmla="*/ 883 h 466"/>
                <a:gd name="T52" fmla="*/ 11394587 w 336"/>
                <a:gd name="T53" fmla="*/ 811 h 466"/>
                <a:gd name="T54" fmla="*/ 13393898 w 336"/>
                <a:gd name="T55" fmla="*/ 672 h 466"/>
                <a:gd name="T56" fmla="*/ 14073668 w 336"/>
                <a:gd name="T57" fmla="*/ 569 h 466"/>
                <a:gd name="T58" fmla="*/ 14937085 w 336"/>
                <a:gd name="T59" fmla="*/ 514 h 466"/>
                <a:gd name="T60" fmla="*/ 17651846 w 336"/>
                <a:gd name="T61" fmla="*/ 426 h 466"/>
                <a:gd name="T62" fmla="*/ 19834280 w 336"/>
                <a:gd name="T63" fmla="*/ 345 h 466"/>
                <a:gd name="T64" fmla="*/ 22490294 w 336"/>
                <a:gd name="T65" fmla="*/ 194 h 466"/>
                <a:gd name="T66" fmla="*/ 22003341 w 336"/>
                <a:gd name="T67" fmla="*/ 104 h 466"/>
                <a:gd name="T68" fmla="*/ 22822946 w 336"/>
                <a:gd name="T69" fmla="*/ 0 h 46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36"/>
                <a:gd name="T106" fmla="*/ 0 h 466"/>
                <a:gd name="T107" fmla="*/ 336 w 336"/>
                <a:gd name="T108" fmla="*/ 466 h 46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36" h="466">
                  <a:moveTo>
                    <a:pt x="287" y="0"/>
                  </a:moveTo>
                  <a:lnTo>
                    <a:pt x="297" y="20"/>
                  </a:lnTo>
                  <a:lnTo>
                    <a:pt x="300" y="26"/>
                  </a:lnTo>
                  <a:lnTo>
                    <a:pt x="336" y="43"/>
                  </a:lnTo>
                  <a:lnTo>
                    <a:pt x="324" y="55"/>
                  </a:lnTo>
                  <a:lnTo>
                    <a:pt x="318" y="61"/>
                  </a:lnTo>
                  <a:lnTo>
                    <a:pt x="300" y="91"/>
                  </a:lnTo>
                  <a:lnTo>
                    <a:pt x="305" y="133"/>
                  </a:lnTo>
                  <a:lnTo>
                    <a:pt x="311" y="151"/>
                  </a:lnTo>
                  <a:lnTo>
                    <a:pt x="328" y="150"/>
                  </a:lnTo>
                  <a:lnTo>
                    <a:pt x="328" y="157"/>
                  </a:lnTo>
                  <a:lnTo>
                    <a:pt x="323" y="192"/>
                  </a:lnTo>
                  <a:lnTo>
                    <a:pt x="300" y="215"/>
                  </a:lnTo>
                  <a:lnTo>
                    <a:pt x="318" y="233"/>
                  </a:lnTo>
                  <a:lnTo>
                    <a:pt x="318" y="239"/>
                  </a:lnTo>
                  <a:lnTo>
                    <a:pt x="287" y="245"/>
                  </a:lnTo>
                  <a:lnTo>
                    <a:pt x="281" y="264"/>
                  </a:lnTo>
                  <a:lnTo>
                    <a:pt x="258" y="264"/>
                  </a:lnTo>
                  <a:lnTo>
                    <a:pt x="266" y="291"/>
                  </a:lnTo>
                  <a:lnTo>
                    <a:pt x="269" y="300"/>
                  </a:lnTo>
                  <a:lnTo>
                    <a:pt x="258" y="311"/>
                  </a:lnTo>
                  <a:lnTo>
                    <a:pt x="264" y="334"/>
                  </a:lnTo>
                  <a:lnTo>
                    <a:pt x="279" y="347"/>
                  </a:lnTo>
                  <a:lnTo>
                    <a:pt x="281" y="347"/>
                  </a:lnTo>
                  <a:lnTo>
                    <a:pt x="282" y="395"/>
                  </a:lnTo>
                  <a:lnTo>
                    <a:pt x="258" y="353"/>
                  </a:lnTo>
                  <a:lnTo>
                    <a:pt x="241" y="382"/>
                  </a:lnTo>
                  <a:lnTo>
                    <a:pt x="229" y="406"/>
                  </a:lnTo>
                  <a:lnTo>
                    <a:pt x="222" y="419"/>
                  </a:lnTo>
                  <a:lnTo>
                    <a:pt x="193" y="436"/>
                  </a:lnTo>
                  <a:lnTo>
                    <a:pt x="180" y="418"/>
                  </a:lnTo>
                  <a:lnTo>
                    <a:pt x="163" y="418"/>
                  </a:lnTo>
                  <a:lnTo>
                    <a:pt x="163" y="406"/>
                  </a:lnTo>
                  <a:lnTo>
                    <a:pt x="150" y="387"/>
                  </a:lnTo>
                  <a:lnTo>
                    <a:pt x="133" y="395"/>
                  </a:lnTo>
                  <a:lnTo>
                    <a:pt x="121" y="423"/>
                  </a:lnTo>
                  <a:lnTo>
                    <a:pt x="97" y="423"/>
                  </a:lnTo>
                  <a:lnTo>
                    <a:pt x="78" y="436"/>
                  </a:lnTo>
                  <a:lnTo>
                    <a:pt x="72" y="448"/>
                  </a:lnTo>
                  <a:lnTo>
                    <a:pt x="74" y="448"/>
                  </a:lnTo>
                  <a:lnTo>
                    <a:pt x="61" y="442"/>
                  </a:lnTo>
                  <a:lnTo>
                    <a:pt x="68" y="423"/>
                  </a:lnTo>
                  <a:lnTo>
                    <a:pt x="38" y="429"/>
                  </a:lnTo>
                  <a:lnTo>
                    <a:pt x="26" y="455"/>
                  </a:lnTo>
                  <a:lnTo>
                    <a:pt x="13" y="466"/>
                  </a:lnTo>
                  <a:lnTo>
                    <a:pt x="13" y="442"/>
                  </a:lnTo>
                  <a:lnTo>
                    <a:pt x="0" y="436"/>
                  </a:lnTo>
                  <a:lnTo>
                    <a:pt x="22" y="416"/>
                  </a:lnTo>
                  <a:lnTo>
                    <a:pt x="26" y="412"/>
                  </a:lnTo>
                  <a:lnTo>
                    <a:pt x="55" y="395"/>
                  </a:lnTo>
                  <a:lnTo>
                    <a:pt x="72" y="370"/>
                  </a:lnTo>
                  <a:lnTo>
                    <a:pt x="97" y="353"/>
                  </a:lnTo>
                  <a:lnTo>
                    <a:pt x="108" y="347"/>
                  </a:lnTo>
                  <a:lnTo>
                    <a:pt x="127" y="323"/>
                  </a:lnTo>
                  <a:lnTo>
                    <a:pt x="144" y="294"/>
                  </a:lnTo>
                  <a:lnTo>
                    <a:pt x="150" y="268"/>
                  </a:lnTo>
                  <a:lnTo>
                    <a:pt x="156" y="232"/>
                  </a:lnTo>
                  <a:lnTo>
                    <a:pt x="157" y="228"/>
                  </a:lnTo>
                  <a:lnTo>
                    <a:pt x="163" y="215"/>
                  </a:lnTo>
                  <a:lnTo>
                    <a:pt x="167" y="204"/>
                  </a:lnTo>
                  <a:lnTo>
                    <a:pt x="192" y="186"/>
                  </a:lnTo>
                  <a:lnTo>
                    <a:pt x="197" y="171"/>
                  </a:lnTo>
                  <a:lnTo>
                    <a:pt x="205" y="156"/>
                  </a:lnTo>
                  <a:lnTo>
                    <a:pt x="222" y="138"/>
                  </a:lnTo>
                  <a:lnTo>
                    <a:pt x="246" y="102"/>
                  </a:lnTo>
                  <a:lnTo>
                    <a:pt x="251" y="79"/>
                  </a:lnTo>
                  <a:lnTo>
                    <a:pt x="246" y="61"/>
                  </a:lnTo>
                  <a:lnTo>
                    <a:pt x="246" y="42"/>
                  </a:lnTo>
                  <a:lnTo>
                    <a:pt x="251" y="7"/>
                  </a:lnTo>
                  <a:lnTo>
                    <a:pt x="255" y="0"/>
                  </a:lnTo>
                  <a:lnTo>
                    <a:pt x="287" y="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60" name="Freeform 166"/>
            <p:cNvSpPr>
              <a:spLocks/>
            </p:cNvSpPr>
            <p:nvPr/>
          </p:nvSpPr>
          <p:spPr bwMode="auto">
            <a:xfrm>
              <a:off x="1980" y="3282"/>
              <a:ext cx="344" cy="243"/>
            </a:xfrm>
            <a:custGeom>
              <a:avLst/>
              <a:gdLst>
                <a:gd name="T0" fmla="*/ 19549830 w 279"/>
                <a:gd name="T1" fmla="*/ 516 h 238"/>
                <a:gd name="T2" fmla="*/ 20312794 w 279"/>
                <a:gd name="T3" fmla="*/ 455 h 238"/>
                <a:gd name="T4" fmla="*/ 21417623 w 279"/>
                <a:gd name="T5" fmla="*/ 437 h 238"/>
                <a:gd name="T6" fmla="*/ 22741739 w 279"/>
                <a:gd name="T7" fmla="*/ 402 h 238"/>
                <a:gd name="T8" fmla="*/ 21831942 w 279"/>
                <a:gd name="T9" fmla="*/ 419 h 238"/>
                <a:gd name="T10" fmla="*/ 21353942 w 279"/>
                <a:gd name="T11" fmla="*/ 370 h 238"/>
                <a:gd name="T12" fmla="*/ 19825306 w 279"/>
                <a:gd name="T13" fmla="*/ 327 h 238"/>
                <a:gd name="T14" fmla="*/ 17534992 w 279"/>
                <a:gd name="T15" fmla="*/ 226 h 238"/>
                <a:gd name="T16" fmla="*/ 17933785 w 279"/>
                <a:gd name="T17" fmla="*/ 108 h 238"/>
                <a:gd name="T18" fmla="*/ 17933785 w 279"/>
                <a:gd name="T19" fmla="*/ 19 h 238"/>
                <a:gd name="T20" fmla="*/ 17534992 w 279"/>
                <a:gd name="T21" fmla="*/ 5 h 238"/>
                <a:gd name="T22" fmla="*/ 17534992 w 279"/>
                <a:gd name="T23" fmla="*/ 6 h 238"/>
                <a:gd name="T24" fmla="*/ 15485157 w 279"/>
                <a:gd name="T25" fmla="*/ 0 h 238"/>
                <a:gd name="T26" fmla="*/ 13977160 w 279"/>
                <a:gd name="T27" fmla="*/ 0 h 238"/>
                <a:gd name="T28" fmla="*/ 11994893 w 279"/>
                <a:gd name="T29" fmla="*/ 11 h 238"/>
                <a:gd name="T30" fmla="*/ 10769060 w 279"/>
                <a:gd name="T31" fmla="*/ 18 h 238"/>
                <a:gd name="T32" fmla="*/ 9584603 w 279"/>
                <a:gd name="T33" fmla="*/ 94 h 238"/>
                <a:gd name="T34" fmla="*/ 8261399 w 279"/>
                <a:gd name="T35" fmla="*/ 120 h 238"/>
                <a:gd name="T36" fmla="*/ 7748033 w 279"/>
                <a:gd name="T37" fmla="*/ 176 h 238"/>
                <a:gd name="T38" fmla="*/ 9364004 w 279"/>
                <a:gd name="T39" fmla="*/ 196 h 238"/>
                <a:gd name="T40" fmla="*/ 7748033 w 279"/>
                <a:gd name="T41" fmla="*/ 256 h 238"/>
                <a:gd name="T42" fmla="*/ 5745338 w 279"/>
                <a:gd name="T43" fmla="*/ 290 h 238"/>
                <a:gd name="T44" fmla="*/ 3414065 w 279"/>
                <a:gd name="T45" fmla="*/ 307 h 238"/>
                <a:gd name="T46" fmla="*/ 2016253 w 279"/>
                <a:gd name="T47" fmla="*/ 272 h 238"/>
                <a:gd name="T48" fmla="*/ 482198 w 279"/>
                <a:gd name="T49" fmla="*/ 348 h 238"/>
                <a:gd name="T50" fmla="*/ 903832 w 279"/>
                <a:gd name="T51" fmla="*/ 402 h 238"/>
                <a:gd name="T52" fmla="*/ 482198 w 279"/>
                <a:gd name="T53" fmla="*/ 476 h 238"/>
                <a:gd name="T54" fmla="*/ 0 w 279"/>
                <a:gd name="T55" fmla="*/ 528 h 238"/>
                <a:gd name="T56" fmla="*/ 482198 w 279"/>
                <a:gd name="T57" fmla="*/ 568 h 238"/>
                <a:gd name="T58" fmla="*/ 482198 w 279"/>
                <a:gd name="T59" fmla="*/ 568 h 238"/>
                <a:gd name="T60" fmla="*/ 1 w 279"/>
                <a:gd name="T61" fmla="*/ 597 h 238"/>
                <a:gd name="T62" fmla="*/ 0 w 279"/>
                <a:gd name="T63" fmla="*/ 606 h 238"/>
                <a:gd name="T64" fmla="*/ 1374030 w 279"/>
                <a:gd name="T65" fmla="*/ 619 h 238"/>
                <a:gd name="T66" fmla="*/ 903832 w 279"/>
                <a:gd name="T67" fmla="*/ 678 h 238"/>
                <a:gd name="T68" fmla="*/ 2365180 w 279"/>
                <a:gd name="T69" fmla="*/ 731 h 238"/>
                <a:gd name="T70" fmla="*/ 3414065 w 279"/>
                <a:gd name="T71" fmla="*/ 663 h 238"/>
                <a:gd name="T72" fmla="*/ 4827486 w 279"/>
                <a:gd name="T73" fmla="*/ 606 h 238"/>
                <a:gd name="T74" fmla="*/ 5358376 w 279"/>
                <a:gd name="T75" fmla="*/ 606 h 238"/>
                <a:gd name="T76" fmla="*/ 5745338 w 279"/>
                <a:gd name="T77" fmla="*/ 598 h 238"/>
                <a:gd name="T78" fmla="*/ 6399322 w 279"/>
                <a:gd name="T79" fmla="*/ 606 h 238"/>
                <a:gd name="T80" fmla="*/ 7163228 w 279"/>
                <a:gd name="T81" fmla="*/ 598 h 238"/>
                <a:gd name="T82" fmla="*/ 8261399 w 279"/>
                <a:gd name="T83" fmla="*/ 699 h 238"/>
                <a:gd name="T84" fmla="*/ 9364004 w 279"/>
                <a:gd name="T85" fmla="*/ 678 h 238"/>
                <a:gd name="T86" fmla="*/ 11156736 w 279"/>
                <a:gd name="T87" fmla="*/ 643 h 238"/>
                <a:gd name="T88" fmla="*/ 11994893 w 279"/>
                <a:gd name="T89" fmla="*/ 598 h 238"/>
                <a:gd name="T90" fmla="*/ 13637135 w 279"/>
                <a:gd name="T91" fmla="*/ 585 h 238"/>
                <a:gd name="T92" fmla="*/ 14522904 w 279"/>
                <a:gd name="T93" fmla="*/ 549 h 238"/>
                <a:gd name="T94" fmla="*/ 16006557 w 279"/>
                <a:gd name="T95" fmla="*/ 528 h 238"/>
                <a:gd name="T96" fmla="*/ 17933785 w 279"/>
                <a:gd name="T97" fmla="*/ 516 h 238"/>
                <a:gd name="T98" fmla="*/ 19549830 w 279"/>
                <a:gd name="T99" fmla="*/ 516 h 238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w 279"/>
                <a:gd name="T151" fmla="*/ 0 h 238"/>
                <a:gd name="T152" fmla="*/ 279 w 279"/>
                <a:gd name="T153" fmla="*/ 238 h 238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T150" t="T151" r="T152" b="T153"/>
              <a:pathLst>
                <a:path w="279" h="238">
                  <a:moveTo>
                    <a:pt x="239" y="167"/>
                  </a:moveTo>
                  <a:lnTo>
                    <a:pt x="249" y="149"/>
                  </a:lnTo>
                  <a:lnTo>
                    <a:pt x="263" y="143"/>
                  </a:lnTo>
                  <a:lnTo>
                    <a:pt x="279" y="131"/>
                  </a:lnTo>
                  <a:lnTo>
                    <a:pt x="268" y="137"/>
                  </a:lnTo>
                  <a:lnTo>
                    <a:pt x="262" y="119"/>
                  </a:lnTo>
                  <a:lnTo>
                    <a:pt x="243" y="107"/>
                  </a:lnTo>
                  <a:lnTo>
                    <a:pt x="214" y="72"/>
                  </a:lnTo>
                  <a:lnTo>
                    <a:pt x="220" y="36"/>
                  </a:lnTo>
                  <a:lnTo>
                    <a:pt x="220" y="19"/>
                  </a:lnTo>
                  <a:lnTo>
                    <a:pt x="214" y="5"/>
                  </a:lnTo>
                  <a:lnTo>
                    <a:pt x="214" y="6"/>
                  </a:lnTo>
                  <a:lnTo>
                    <a:pt x="190" y="0"/>
                  </a:lnTo>
                  <a:lnTo>
                    <a:pt x="171" y="0"/>
                  </a:lnTo>
                  <a:lnTo>
                    <a:pt x="148" y="11"/>
                  </a:lnTo>
                  <a:lnTo>
                    <a:pt x="131" y="18"/>
                  </a:lnTo>
                  <a:lnTo>
                    <a:pt x="118" y="29"/>
                  </a:lnTo>
                  <a:lnTo>
                    <a:pt x="101" y="42"/>
                  </a:lnTo>
                  <a:lnTo>
                    <a:pt x="95" y="60"/>
                  </a:lnTo>
                  <a:lnTo>
                    <a:pt x="114" y="65"/>
                  </a:lnTo>
                  <a:lnTo>
                    <a:pt x="95" y="84"/>
                  </a:lnTo>
                  <a:lnTo>
                    <a:pt x="70" y="96"/>
                  </a:lnTo>
                  <a:lnTo>
                    <a:pt x="42" y="101"/>
                  </a:lnTo>
                  <a:lnTo>
                    <a:pt x="24" y="90"/>
                  </a:lnTo>
                  <a:lnTo>
                    <a:pt x="6" y="113"/>
                  </a:lnTo>
                  <a:lnTo>
                    <a:pt x="11" y="131"/>
                  </a:lnTo>
                  <a:lnTo>
                    <a:pt x="6" y="156"/>
                  </a:lnTo>
                  <a:lnTo>
                    <a:pt x="0" y="172"/>
                  </a:lnTo>
                  <a:lnTo>
                    <a:pt x="6" y="185"/>
                  </a:lnTo>
                  <a:lnTo>
                    <a:pt x="1" y="195"/>
                  </a:lnTo>
                  <a:lnTo>
                    <a:pt x="0" y="198"/>
                  </a:lnTo>
                  <a:lnTo>
                    <a:pt x="17" y="202"/>
                  </a:lnTo>
                  <a:lnTo>
                    <a:pt x="11" y="221"/>
                  </a:lnTo>
                  <a:lnTo>
                    <a:pt x="29" y="238"/>
                  </a:lnTo>
                  <a:lnTo>
                    <a:pt x="42" y="215"/>
                  </a:lnTo>
                  <a:lnTo>
                    <a:pt x="59" y="198"/>
                  </a:lnTo>
                  <a:lnTo>
                    <a:pt x="66" y="198"/>
                  </a:lnTo>
                  <a:lnTo>
                    <a:pt x="70" y="196"/>
                  </a:lnTo>
                  <a:lnTo>
                    <a:pt x="79" y="198"/>
                  </a:lnTo>
                  <a:lnTo>
                    <a:pt x="88" y="196"/>
                  </a:lnTo>
                  <a:lnTo>
                    <a:pt x="101" y="227"/>
                  </a:lnTo>
                  <a:lnTo>
                    <a:pt x="114" y="221"/>
                  </a:lnTo>
                  <a:lnTo>
                    <a:pt x="137" y="209"/>
                  </a:lnTo>
                  <a:lnTo>
                    <a:pt x="148" y="196"/>
                  </a:lnTo>
                  <a:lnTo>
                    <a:pt x="167" y="191"/>
                  </a:lnTo>
                  <a:lnTo>
                    <a:pt x="178" y="179"/>
                  </a:lnTo>
                  <a:lnTo>
                    <a:pt x="196" y="172"/>
                  </a:lnTo>
                  <a:lnTo>
                    <a:pt x="220" y="167"/>
                  </a:lnTo>
                  <a:lnTo>
                    <a:pt x="239" y="167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61" name="Freeform 167"/>
            <p:cNvSpPr>
              <a:spLocks/>
            </p:cNvSpPr>
            <p:nvPr/>
          </p:nvSpPr>
          <p:spPr bwMode="auto">
            <a:xfrm>
              <a:off x="1735" y="3665"/>
              <a:ext cx="309" cy="223"/>
            </a:xfrm>
            <a:custGeom>
              <a:avLst/>
              <a:gdLst>
                <a:gd name="T0" fmla="*/ 19402273 w 250"/>
                <a:gd name="T1" fmla="*/ 309 h 219"/>
                <a:gd name="T2" fmla="*/ 19402273 w 250"/>
                <a:gd name="T3" fmla="*/ 345 h 219"/>
                <a:gd name="T4" fmla="*/ 21288888 w 250"/>
                <a:gd name="T5" fmla="*/ 329 h 219"/>
                <a:gd name="T6" fmla="*/ 21487617 w 250"/>
                <a:gd name="T7" fmla="*/ 329 h 219"/>
                <a:gd name="T8" fmla="*/ 21021102 w 250"/>
                <a:gd name="T9" fmla="*/ 366 h 219"/>
                <a:gd name="T10" fmla="*/ 19402273 w 250"/>
                <a:gd name="T11" fmla="*/ 394 h 219"/>
                <a:gd name="T12" fmla="*/ 19402273 w 250"/>
                <a:gd name="T13" fmla="*/ 422 h 219"/>
                <a:gd name="T14" fmla="*/ 21021102 w 250"/>
                <a:gd name="T15" fmla="*/ 422 h 219"/>
                <a:gd name="T16" fmla="*/ 22616649 w 250"/>
                <a:gd name="T17" fmla="*/ 407 h 219"/>
                <a:gd name="T18" fmla="*/ 23274537 w 250"/>
                <a:gd name="T19" fmla="*/ 438 h 219"/>
                <a:gd name="T20" fmla="*/ 21487617 w 250"/>
                <a:gd name="T21" fmla="*/ 454 h 219"/>
                <a:gd name="T22" fmla="*/ 21021102 w 250"/>
                <a:gd name="T23" fmla="*/ 471 h 219"/>
                <a:gd name="T24" fmla="*/ 21487617 w 250"/>
                <a:gd name="T25" fmla="*/ 506 h 219"/>
                <a:gd name="T26" fmla="*/ 19987623 w 250"/>
                <a:gd name="T27" fmla="*/ 535 h 219"/>
                <a:gd name="T28" fmla="*/ 18881443 w 250"/>
                <a:gd name="T29" fmla="*/ 488 h 219"/>
                <a:gd name="T30" fmla="*/ 17106102 w 250"/>
                <a:gd name="T31" fmla="*/ 535 h 219"/>
                <a:gd name="T32" fmla="*/ 14414876 w 250"/>
                <a:gd name="T33" fmla="*/ 582 h 219"/>
                <a:gd name="T34" fmla="*/ 12170251 w 250"/>
                <a:gd name="T35" fmla="*/ 553 h 219"/>
                <a:gd name="T36" fmla="*/ 8813303 w 250"/>
                <a:gd name="T37" fmla="*/ 572 h 219"/>
                <a:gd name="T38" fmla="*/ 8313411 w 250"/>
                <a:gd name="T39" fmla="*/ 454 h 219"/>
                <a:gd name="T40" fmla="*/ 7755436 w 250"/>
                <a:gd name="T41" fmla="*/ 407 h 219"/>
                <a:gd name="T42" fmla="*/ 5452195 w 250"/>
                <a:gd name="T43" fmla="*/ 345 h 219"/>
                <a:gd name="T44" fmla="*/ 4107246 w 250"/>
                <a:gd name="T45" fmla="*/ 329 h 219"/>
                <a:gd name="T46" fmla="*/ 4042971 w 250"/>
                <a:gd name="T47" fmla="*/ 329 h 219"/>
                <a:gd name="T48" fmla="*/ 3323014 w 250"/>
                <a:gd name="T49" fmla="*/ 366 h 219"/>
                <a:gd name="T50" fmla="*/ 3466474 w 250"/>
                <a:gd name="T51" fmla="*/ 380 h 219"/>
                <a:gd name="T52" fmla="*/ 4042971 w 250"/>
                <a:gd name="T53" fmla="*/ 407 h 219"/>
                <a:gd name="T54" fmla="*/ 3323014 w 250"/>
                <a:gd name="T55" fmla="*/ 454 h 219"/>
                <a:gd name="T56" fmla="*/ 1591550 w 250"/>
                <a:gd name="T57" fmla="*/ 438 h 219"/>
                <a:gd name="T58" fmla="*/ 446385 w 250"/>
                <a:gd name="T59" fmla="*/ 394 h 219"/>
                <a:gd name="T60" fmla="*/ 0 w 250"/>
                <a:gd name="T61" fmla="*/ 309 h 219"/>
                <a:gd name="T62" fmla="*/ 446385 w 250"/>
                <a:gd name="T63" fmla="*/ 146 h 219"/>
                <a:gd name="T64" fmla="*/ 2804591 w 250"/>
                <a:gd name="T65" fmla="*/ 131 h 219"/>
                <a:gd name="T66" fmla="*/ 4402751 w 250"/>
                <a:gd name="T67" fmla="*/ 107 h 219"/>
                <a:gd name="T68" fmla="*/ 3323014 w 250"/>
                <a:gd name="T69" fmla="*/ 83 h 219"/>
                <a:gd name="T70" fmla="*/ 3845233 w 250"/>
                <a:gd name="T71" fmla="*/ 82 h 219"/>
                <a:gd name="T72" fmla="*/ 7130505 w 250"/>
                <a:gd name="T73" fmla="*/ 23 h 219"/>
                <a:gd name="T74" fmla="*/ 7755436 w 250"/>
                <a:gd name="T75" fmla="*/ 97 h 219"/>
                <a:gd name="T76" fmla="*/ 9846480 w 250"/>
                <a:gd name="T77" fmla="*/ 83 h 219"/>
                <a:gd name="T78" fmla="*/ 11092113 w 250"/>
                <a:gd name="T79" fmla="*/ 17 h 219"/>
                <a:gd name="T80" fmla="*/ 11662522 w 250"/>
                <a:gd name="T81" fmla="*/ 0 h 219"/>
                <a:gd name="T82" fmla="*/ 13243544 w 250"/>
                <a:gd name="T83" fmla="*/ 7 h 219"/>
                <a:gd name="T84" fmla="*/ 13839889 w 250"/>
                <a:gd name="T85" fmla="*/ 12 h 219"/>
                <a:gd name="T86" fmla="*/ 15519712 w 250"/>
                <a:gd name="T87" fmla="*/ 83 h 219"/>
                <a:gd name="T88" fmla="*/ 15519712 w 250"/>
                <a:gd name="T89" fmla="*/ 131 h 219"/>
                <a:gd name="T90" fmla="*/ 14804424 w 250"/>
                <a:gd name="T91" fmla="*/ 182 h 219"/>
                <a:gd name="T92" fmla="*/ 13243544 w 250"/>
                <a:gd name="T93" fmla="*/ 202 h 219"/>
                <a:gd name="T94" fmla="*/ 12202931 w 250"/>
                <a:gd name="T95" fmla="*/ 222 h 219"/>
                <a:gd name="T96" fmla="*/ 11662522 w 250"/>
                <a:gd name="T97" fmla="*/ 238 h 219"/>
                <a:gd name="T98" fmla="*/ 12700357 w 250"/>
                <a:gd name="T99" fmla="*/ 265 h 219"/>
                <a:gd name="T100" fmla="*/ 13839889 w 250"/>
                <a:gd name="T101" fmla="*/ 280 h 219"/>
                <a:gd name="T102" fmla="*/ 14804424 w 250"/>
                <a:gd name="T103" fmla="*/ 248 h 219"/>
                <a:gd name="T104" fmla="*/ 17106102 w 250"/>
                <a:gd name="T105" fmla="*/ 238 h 219"/>
                <a:gd name="T106" fmla="*/ 17624649 w 250"/>
                <a:gd name="T107" fmla="*/ 248 h 219"/>
                <a:gd name="T108" fmla="*/ 18157394 w 250"/>
                <a:gd name="T109" fmla="*/ 248 h 219"/>
                <a:gd name="T110" fmla="*/ 17624649 w 250"/>
                <a:gd name="T111" fmla="*/ 295 h 219"/>
                <a:gd name="T112" fmla="*/ 17260602 w 250"/>
                <a:gd name="T113" fmla="*/ 309 h 219"/>
                <a:gd name="T114" fmla="*/ 19402273 w 250"/>
                <a:gd name="T115" fmla="*/ 309 h 21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50"/>
                <a:gd name="T175" fmla="*/ 0 h 219"/>
                <a:gd name="T176" fmla="*/ 250 w 250"/>
                <a:gd name="T177" fmla="*/ 219 h 21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50" h="219">
                  <a:moveTo>
                    <a:pt x="208" y="118"/>
                  </a:moveTo>
                  <a:lnTo>
                    <a:pt x="208" y="130"/>
                  </a:lnTo>
                  <a:lnTo>
                    <a:pt x="228" y="125"/>
                  </a:lnTo>
                  <a:lnTo>
                    <a:pt x="231" y="125"/>
                  </a:lnTo>
                  <a:lnTo>
                    <a:pt x="226" y="137"/>
                  </a:lnTo>
                  <a:lnTo>
                    <a:pt x="208" y="149"/>
                  </a:lnTo>
                  <a:lnTo>
                    <a:pt x="208" y="160"/>
                  </a:lnTo>
                  <a:lnTo>
                    <a:pt x="226" y="160"/>
                  </a:lnTo>
                  <a:lnTo>
                    <a:pt x="243" y="154"/>
                  </a:lnTo>
                  <a:lnTo>
                    <a:pt x="250" y="166"/>
                  </a:lnTo>
                  <a:lnTo>
                    <a:pt x="231" y="172"/>
                  </a:lnTo>
                  <a:lnTo>
                    <a:pt x="226" y="179"/>
                  </a:lnTo>
                  <a:lnTo>
                    <a:pt x="231" y="190"/>
                  </a:lnTo>
                  <a:lnTo>
                    <a:pt x="214" y="202"/>
                  </a:lnTo>
                  <a:lnTo>
                    <a:pt x="203" y="184"/>
                  </a:lnTo>
                  <a:lnTo>
                    <a:pt x="184" y="202"/>
                  </a:lnTo>
                  <a:lnTo>
                    <a:pt x="155" y="219"/>
                  </a:lnTo>
                  <a:lnTo>
                    <a:pt x="131" y="208"/>
                  </a:lnTo>
                  <a:lnTo>
                    <a:pt x="95" y="215"/>
                  </a:lnTo>
                  <a:lnTo>
                    <a:pt x="89" y="172"/>
                  </a:lnTo>
                  <a:lnTo>
                    <a:pt x="83" y="154"/>
                  </a:lnTo>
                  <a:lnTo>
                    <a:pt x="59" y="130"/>
                  </a:lnTo>
                  <a:lnTo>
                    <a:pt x="44" y="125"/>
                  </a:lnTo>
                  <a:lnTo>
                    <a:pt x="43" y="125"/>
                  </a:lnTo>
                  <a:lnTo>
                    <a:pt x="36" y="137"/>
                  </a:lnTo>
                  <a:lnTo>
                    <a:pt x="37" y="143"/>
                  </a:lnTo>
                  <a:lnTo>
                    <a:pt x="43" y="154"/>
                  </a:lnTo>
                  <a:lnTo>
                    <a:pt x="36" y="172"/>
                  </a:lnTo>
                  <a:lnTo>
                    <a:pt x="17" y="166"/>
                  </a:lnTo>
                  <a:lnTo>
                    <a:pt x="5" y="149"/>
                  </a:lnTo>
                  <a:lnTo>
                    <a:pt x="0" y="118"/>
                  </a:lnTo>
                  <a:lnTo>
                    <a:pt x="5" y="59"/>
                  </a:lnTo>
                  <a:lnTo>
                    <a:pt x="30" y="53"/>
                  </a:lnTo>
                  <a:lnTo>
                    <a:pt x="47" y="41"/>
                  </a:lnTo>
                  <a:lnTo>
                    <a:pt x="36" y="29"/>
                  </a:lnTo>
                  <a:lnTo>
                    <a:pt x="41" y="28"/>
                  </a:lnTo>
                  <a:lnTo>
                    <a:pt x="77" y="23"/>
                  </a:lnTo>
                  <a:lnTo>
                    <a:pt x="83" y="36"/>
                  </a:lnTo>
                  <a:lnTo>
                    <a:pt x="106" y="29"/>
                  </a:lnTo>
                  <a:lnTo>
                    <a:pt x="119" y="17"/>
                  </a:lnTo>
                  <a:lnTo>
                    <a:pt x="125" y="0"/>
                  </a:lnTo>
                  <a:lnTo>
                    <a:pt x="142" y="7"/>
                  </a:lnTo>
                  <a:lnTo>
                    <a:pt x="149" y="12"/>
                  </a:lnTo>
                  <a:lnTo>
                    <a:pt x="167" y="29"/>
                  </a:lnTo>
                  <a:lnTo>
                    <a:pt x="167" y="53"/>
                  </a:lnTo>
                  <a:lnTo>
                    <a:pt x="159" y="71"/>
                  </a:lnTo>
                  <a:lnTo>
                    <a:pt x="142" y="77"/>
                  </a:lnTo>
                  <a:lnTo>
                    <a:pt x="132" y="82"/>
                  </a:lnTo>
                  <a:lnTo>
                    <a:pt x="125" y="89"/>
                  </a:lnTo>
                  <a:lnTo>
                    <a:pt x="136" y="101"/>
                  </a:lnTo>
                  <a:lnTo>
                    <a:pt x="149" y="107"/>
                  </a:lnTo>
                  <a:lnTo>
                    <a:pt x="159" y="94"/>
                  </a:lnTo>
                  <a:lnTo>
                    <a:pt x="184" y="89"/>
                  </a:lnTo>
                  <a:lnTo>
                    <a:pt x="190" y="94"/>
                  </a:lnTo>
                  <a:lnTo>
                    <a:pt x="195" y="94"/>
                  </a:lnTo>
                  <a:lnTo>
                    <a:pt x="190" y="113"/>
                  </a:lnTo>
                  <a:lnTo>
                    <a:pt x="185" y="118"/>
                  </a:lnTo>
                  <a:lnTo>
                    <a:pt x="208" y="118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62" name="Freeform 168"/>
            <p:cNvSpPr>
              <a:spLocks/>
            </p:cNvSpPr>
            <p:nvPr/>
          </p:nvSpPr>
          <p:spPr bwMode="auto">
            <a:xfrm>
              <a:off x="3667" y="2049"/>
              <a:ext cx="277" cy="316"/>
            </a:xfrm>
            <a:custGeom>
              <a:avLst/>
              <a:gdLst>
                <a:gd name="T0" fmla="*/ 11729359 w 224"/>
                <a:gd name="T1" fmla="*/ 437 h 311"/>
                <a:gd name="T2" fmla="*/ 13439527 w 224"/>
                <a:gd name="T3" fmla="*/ 361 h 311"/>
                <a:gd name="T4" fmla="*/ 13673394 w 224"/>
                <a:gd name="T5" fmla="*/ 399 h 311"/>
                <a:gd name="T6" fmla="*/ 16303221 w 224"/>
                <a:gd name="T7" fmla="*/ 343 h 311"/>
                <a:gd name="T8" fmla="*/ 18173297 w 224"/>
                <a:gd name="T9" fmla="*/ 343 h 311"/>
                <a:gd name="T10" fmla="*/ 18637856 w 224"/>
                <a:gd name="T11" fmla="*/ 375 h 311"/>
                <a:gd name="T12" fmla="*/ 21015856 w 224"/>
                <a:gd name="T13" fmla="*/ 414 h 311"/>
                <a:gd name="T14" fmla="*/ 21416041 w 224"/>
                <a:gd name="T15" fmla="*/ 361 h 311"/>
                <a:gd name="T16" fmla="*/ 20350072 w 224"/>
                <a:gd name="T17" fmla="*/ 271 h 311"/>
                <a:gd name="T18" fmla="*/ 19855043 w 224"/>
                <a:gd name="T19" fmla="*/ 247 h 311"/>
                <a:gd name="T20" fmla="*/ 18173297 w 224"/>
                <a:gd name="T21" fmla="*/ 259 h 311"/>
                <a:gd name="T22" fmla="*/ 18637856 w 224"/>
                <a:gd name="T23" fmla="*/ 204 h 311"/>
                <a:gd name="T24" fmla="*/ 18173297 w 224"/>
                <a:gd name="T25" fmla="*/ 150 h 311"/>
                <a:gd name="T26" fmla="*/ 18173297 w 224"/>
                <a:gd name="T27" fmla="*/ 26 h 311"/>
                <a:gd name="T28" fmla="*/ 21416041 w 224"/>
                <a:gd name="T29" fmla="*/ 8 h 311"/>
                <a:gd name="T30" fmla="*/ 20094203 w 224"/>
                <a:gd name="T31" fmla="*/ 2 h 311"/>
                <a:gd name="T32" fmla="*/ 16303221 w 224"/>
                <a:gd name="T33" fmla="*/ 102 h 311"/>
                <a:gd name="T34" fmla="*/ 11729359 w 224"/>
                <a:gd name="T35" fmla="*/ 136 h 311"/>
                <a:gd name="T36" fmla="*/ 11729359 w 224"/>
                <a:gd name="T37" fmla="*/ 92 h 311"/>
                <a:gd name="T38" fmla="*/ 4774300 w 224"/>
                <a:gd name="T39" fmla="*/ 93 h 311"/>
                <a:gd name="T40" fmla="*/ 4500639 w 224"/>
                <a:gd name="T41" fmla="*/ 31 h 311"/>
                <a:gd name="T42" fmla="*/ 3823723 w 224"/>
                <a:gd name="T43" fmla="*/ 104 h 311"/>
                <a:gd name="T44" fmla="*/ 1635158 w 224"/>
                <a:gd name="T45" fmla="*/ 150 h 311"/>
                <a:gd name="T46" fmla="*/ 2188693 w 224"/>
                <a:gd name="T47" fmla="*/ 204 h 311"/>
                <a:gd name="T48" fmla="*/ 2188693 w 224"/>
                <a:gd name="T49" fmla="*/ 328 h 311"/>
                <a:gd name="T50" fmla="*/ 4195383 w 224"/>
                <a:gd name="T51" fmla="*/ 393 h 311"/>
                <a:gd name="T52" fmla="*/ 4444250 w 224"/>
                <a:gd name="T53" fmla="*/ 428 h 311"/>
                <a:gd name="T54" fmla="*/ 4444250 w 224"/>
                <a:gd name="T55" fmla="*/ 468 h 311"/>
                <a:gd name="T56" fmla="*/ 3239607 w 224"/>
                <a:gd name="T57" fmla="*/ 578 h 311"/>
                <a:gd name="T58" fmla="*/ 3239607 w 224"/>
                <a:gd name="T59" fmla="*/ 607 h 311"/>
                <a:gd name="T60" fmla="*/ 1635158 w 224"/>
                <a:gd name="T61" fmla="*/ 681 h 311"/>
                <a:gd name="T62" fmla="*/ 5495790 w 224"/>
                <a:gd name="T63" fmla="*/ 711 h 311"/>
                <a:gd name="T64" fmla="*/ 8490738 w 224"/>
                <a:gd name="T65" fmla="*/ 695 h 311"/>
                <a:gd name="T66" fmla="*/ 11729359 w 224"/>
                <a:gd name="T67" fmla="*/ 734 h 311"/>
                <a:gd name="T68" fmla="*/ 13439527 w 224"/>
                <a:gd name="T69" fmla="*/ 673 h 311"/>
                <a:gd name="T70" fmla="*/ 11729359 w 224"/>
                <a:gd name="T71" fmla="*/ 586 h 311"/>
                <a:gd name="T72" fmla="*/ 11729359 w 224"/>
                <a:gd name="T73" fmla="*/ 484 h 311"/>
                <a:gd name="T74" fmla="*/ 12983971 w 224"/>
                <a:gd name="T75" fmla="*/ 428 h 31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4"/>
                <a:gd name="T115" fmla="*/ 0 h 311"/>
                <a:gd name="T116" fmla="*/ 224 w 224"/>
                <a:gd name="T117" fmla="*/ 311 h 31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4" h="311">
                  <a:moveTo>
                    <a:pt x="135" y="182"/>
                  </a:moveTo>
                  <a:lnTo>
                    <a:pt x="123" y="186"/>
                  </a:lnTo>
                  <a:lnTo>
                    <a:pt x="135" y="163"/>
                  </a:lnTo>
                  <a:lnTo>
                    <a:pt x="141" y="152"/>
                  </a:lnTo>
                  <a:lnTo>
                    <a:pt x="142" y="157"/>
                  </a:lnTo>
                  <a:lnTo>
                    <a:pt x="142" y="169"/>
                  </a:lnTo>
                  <a:lnTo>
                    <a:pt x="154" y="159"/>
                  </a:lnTo>
                  <a:lnTo>
                    <a:pt x="171" y="146"/>
                  </a:lnTo>
                  <a:lnTo>
                    <a:pt x="182" y="157"/>
                  </a:lnTo>
                  <a:lnTo>
                    <a:pt x="190" y="146"/>
                  </a:lnTo>
                  <a:lnTo>
                    <a:pt x="195" y="152"/>
                  </a:lnTo>
                  <a:lnTo>
                    <a:pt x="195" y="157"/>
                  </a:lnTo>
                  <a:lnTo>
                    <a:pt x="207" y="159"/>
                  </a:lnTo>
                  <a:lnTo>
                    <a:pt x="220" y="176"/>
                  </a:lnTo>
                  <a:lnTo>
                    <a:pt x="220" y="159"/>
                  </a:lnTo>
                  <a:lnTo>
                    <a:pt x="224" y="152"/>
                  </a:lnTo>
                  <a:lnTo>
                    <a:pt x="201" y="133"/>
                  </a:lnTo>
                  <a:lnTo>
                    <a:pt x="213" y="116"/>
                  </a:lnTo>
                  <a:lnTo>
                    <a:pt x="208" y="107"/>
                  </a:lnTo>
                  <a:lnTo>
                    <a:pt x="207" y="104"/>
                  </a:lnTo>
                  <a:lnTo>
                    <a:pt x="195" y="116"/>
                  </a:lnTo>
                  <a:lnTo>
                    <a:pt x="190" y="110"/>
                  </a:lnTo>
                  <a:lnTo>
                    <a:pt x="190" y="97"/>
                  </a:lnTo>
                  <a:lnTo>
                    <a:pt x="195" y="87"/>
                  </a:lnTo>
                  <a:lnTo>
                    <a:pt x="190" y="72"/>
                  </a:lnTo>
                  <a:lnTo>
                    <a:pt x="190" y="68"/>
                  </a:lnTo>
                  <a:lnTo>
                    <a:pt x="195" y="57"/>
                  </a:lnTo>
                  <a:lnTo>
                    <a:pt x="190" y="26"/>
                  </a:lnTo>
                  <a:lnTo>
                    <a:pt x="213" y="26"/>
                  </a:lnTo>
                  <a:lnTo>
                    <a:pt x="224" y="8"/>
                  </a:lnTo>
                  <a:lnTo>
                    <a:pt x="220" y="8"/>
                  </a:lnTo>
                  <a:lnTo>
                    <a:pt x="210" y="2"/>
                  </a:lnTo>
                  <a:lnTo>
                    <a:pt x="178" y="0"/>
                  </a:lnTo>
                  <a:lnTo>
                    <a:pt x="171" y="44"/>
                  </a:lnTo>
                  <a:lnTo>
                    <a:pt x="148" y="38"/>
                  </a:lnTo>
                  <a:lnTo>
                    <a:pt x="123" y="61"/>
                  </a:lnTo>
                  <a:lnTo>
                    <a:pt x="112" y="57"/>
                  </a:lnTo>
                  <a:lnTo>
                    <a:pt x="123" y="38"/>
                  </a:lnTo>
                  <a:lnTo>
                    <a:pt x="76" y="44"/>
                  </a:lnTo>
                  <a:lnTo>
                    <a:pt x="50" y="39"/>
                  </a:lnTo>
                  <a:lnTo>
                    <a:pt x="46" y="38"/>
                  </a:lnTo>
                  <a:lnTo>
                    <a:pt x="48" y="31"/>
                  </a:lnTo>
                  <a:lnTo>
                    <a:pt x="40" y="45"/>
                  </a:lnTo>
                  <a:lnTo>
                    <a:pt x="28" y="61"/>
                  </a:lnTo>
                  <a:lnTo>
                    <a:pt x="17" y="68"/>
                  </a:lnTo>
                  <a:lnTo>
                    <a:pt x="0" y="68"/>
                  </a:lnTo>
                  <a:lnTo>
                    <a:pt x="23" y="87"/>
                  </a:lnTo>
                  <a:lnTo>
                    <a:pt x="34" y="127"/>
                  </a:lnTo>
                  <a:lnTo>
                    <a:pt x="23" y="140"/>
                  </a:lnTo>
                  <a:lnTo>
                    <a:pt x="40" y="157"/>
                  </a:lnTo>
                  <a:lnTo>
                    <a:pt x="44" y="166"/>
                  </a:lnTo>
                  <a:lnTo>
                    <a:pt x="46" y="167"/>
                  </a:lnTo>
                  <a:lnTo>
                    <a:pt x="46" y="182"/>
                  </a:lnTo>
                  <a:lnTo>
                    <a:pt x="46" y="186"/>
                  </a:lnTo>
                  <a:lnTo>
                    <a:pt x="46" y="199"/>
                  </a:lnTo>
                  <a:lnTo>
                    <a:pt x="28" y="229"/>
                  </a:lnTo>
                  <a:lnTo>
                    <a:pt x="34" y="245"/>
                  </a:lnTo>
                  <a:lnTo>
                    <a:pt x="34" y="247"/>
                  </a:lnTo>
                  <a:lnTo>
                    <a:pt x="34" y="258"/>
                  </a:lnTo>
                  <a:lnTo>
                    <a:pt x="17" y="284"/>
                  </a:lnTo>
                  <a:lnTo>
                    <a:pt x="17" y="288"/>
                  </a:lnTo>
                  <a:lnTo>
                    <a:pt x="46" y="288"/>
                  </a:lnTo>
                  <a:lnTo>
                    <a:pt x="57" y="301"/>
                  </a:lnTo>
                  <a:lnTo>
                    <a:pt x="70" y="294"/>
                  </a:lnTo>
                  <a:lnTo>
                    <a:pt x="89" y="294"/>
                  </a:lnTo>
                  <a:lnTo>
                    <a:pt x="112" y="311"/>
                  </a:lnTo>
                  <a:lnTo>
                    <a:pt x="123" y="311"/>
                  </a:lnTo>
                  <a:lnTo>
                    <a:pt x="129" y="294"/>
                  </a:lnTo>
                  <a:lnTo>
                    <a:pt x="141" y="284"/>
                  </a:lnTo>
                  <a:lnTo>
                    <a:pt x="129" y="265"/>
                  </a:lnTo>
                  <a:lnTo>
                    <a:pt x="123" y="248"/>
                  </a:lnTo>
                  <a:lnTo>
                    <a:pt x="118" y="235"/>
                  </a:lnTo>
                  <a:lnTo>
                    <a:pt x="123" y="205"/>
                  </a:lnTo>
                  <a:lnTo>
                    <a:pt x="135" y="193"/>
                  </a:lnTo>
                  <a:lnTo>
                    <a:pt x="135" y="182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63" name="Freeform 169"/>
            <p:cNvSpPr>
              <a:spLocks/>
            </p:cNvSpPr>
            <p:nvPr/>
          </p:nvSpPr>
          <p:spPr bwMode="auto">
            <a:xfrm>
              <a:off x="1535" y="3614"/>
              <a:ext cx="259" cy="236"/>
            </a:xfrm>
            <a:custGeom>
              <a:avLst/>
              <a:gdLst>
                <a:gd name="T0" fmla="*/ 3249650 w 209"/>
                <a:gd name="T1" fmla="*/ 183 h 233"/>
                <a:gd name="T2" fmla="*/ 3936746 w 209"/>
                <a:gd name="T3" fmla="*/ 213 h 233"/>
                <a:gd name="T4" fmla="*/ 5084727 w 209"/>
                <a:gd name="T5" fmla="*/ 213 h 233"/>
                <a:gd name="T6" fmla="*/ 6556577 w 209"/>
                <a:gd name="T7" fmla="*/ 183 h 233"/>
                <a:gd name="T8" fmla="*/ 6556577 w 209"/>
                <a:gd name="T9" fmla="*/ 173 h 233"/>
                <a:gd name="T10" fmla="*/ 5084727 w 209"/>
                <a:gd name="T11" fmla="*/ 163 h 233"/>
                <a:gd name="T12" fmla="*/ 8403160 w 209"/>
                <a:gd name="T13" fmla="*/ 109 h 233"/>
                <a:gd name="T14" fmla="*/ 8549320 w 209"/>
                <a:gd name="T15" fmla="*/ 97 h 233"/>
                <a:gd name="T16" fmla="*/ 12477774 w 209"/>
                <a:gd name="T17" fmla="*/ 20 h 233"/>
                <a:gd name="T18" fmla="*/ 13472889 w 209"/>
                <a:gd name="T19" fmla="*/ 20 h 233"/>
                <a:gd name="T20" fmla="*/ 14257958 w 209"/>
                <a:gd name="T21" fmla="*/ 32 h 233"/>
                <a:gd name="T22" fmla="*/ 16054064 w 209"/>
                <a:gd name="T23" fmla="*/ 20 h 233"/>
                <a:gd name="T24" fmla="*/ 17596247 w 209"/>
                <a:gd name="T25" fmla="*/ 14 h 233"/>
                <a:gd name="T26" fmla="*/ 17902754 w 209"/>
                <a:gd name="T27" fmla="*/ 14 h 233"/>
                <a:gd name="T28" fmla="*/ 18074383 w 209"/>
                <a:gd name="T29" fmla="*/ 0 h 233"/>
                <a:gd name="T30" fmla="*/ 18074383 w 209"/>
                <a:gd name="T31" fmla="*/ 21 h 233"/>
                <a:gd name="T32" fmla="*/ 17902754 w 209"/>
                <a:gd name="T33" fmla="*/ 32 h 233"/>
                <a:gd name="T34" fmla="*/ 17453140 w 209"/>
                <a:gd name="T35" fmla="*/ 97 h 233"/>
                <a:gd name="T36" fmla="*/ 22398383 w 209"/>
                <a:gd name="T37" fmla="*/ 173 h 233"/>
                <a:gd name="T38" fmla="*/ 20669478 w 209"/>
                <a:gd name="T39" fmla="*/ 198 h 233"/>
                <a:gd name="T40" fmla="*/ 17902754 w 209"/>
                <a:gd name="T41" fmla="*/ 213 h 233"/>
                <a:gd name="T42" fmla="*/ 17453140 w 209"/>
                <a:gd name="T43" fmla="*/ 330 h 233"/>
                <a:gd name="T44" fmla="*/ 17902754 w 209"/>
                <a:gd name="T45" fmla="*/ 400 h 233"/>
                <a:gd name="T46" fmla="*/ 15462880 w 209"/>
                <a:gd name="T47" fmla="*/ 400 h 233"/>
                <a:gd name="T48" fmla="*/ 16054064 w 209"/>
                <a:gd name="T49" fmla="*/ 373 h 233"/>
                <a:gd name="T50" fmla="*/ 14688419 w 209"/>
                <a:gd name="T51" fmla="*/ 373 h 233"/>
                <a:gd name="T52" fmla="*/ 14257958 w 209"/>
                <a:gd name="T53" fmla="*/ 400 h 233"/>
                <a:gd name="T54" fmla="*/ 11596202 w 209"/>
                <a:gd name="T55" fmla="*/ 408 h 233"/>
                <a:gd name="T56" fmla="*/ 12477774 w 209"/>
                <a:gd name="T57" fmla="*/ 428 h 233"/>
                <a:gd name="T58" fmla="*/ 9676711 w 209"/>
                <a:gd name="T59" fmla="*/ 454 h 233"/>
                <a:gd name="T60" fmla="*/ 9676711 w 209"/>
                <a:gd name="T61" fmla="*/ 462 h 233"/>
                <a:gd name="T62" fmla="*/ 8549320 w 209"/>
                <a:gd name="T63" fmla="*/ 454 h 233"/>
                <a:gd name="T64" fmla="*/ 7201489 w 209"/>
                <a:gd name="T65" fmla="*/ 428 h 233"/>
                <a:gd name="T66" fmla="*/ 6556577 w 209"/>
                <a:gd name="T67" fmla="*/ 400 h 233"/>
                <a:gd name="T68" fmla="*/ 7663907 w 209"/>
                <a:gd name="T69" fmla="*/ 355 h 233"/>
                <a:gd name="T70" fmla="*/ 8549320 w 209"/>
                <a:gd name="T71" fmla="*/ 321 h 233"/>
                <a:gd name="T72" fmla="*/ 9013443 w 209"/>
                <a:gd name="T73" fmla="*/ 282 h 233"/>
                <a:gd name="T74" fmla="*/ 9013443 w 209"/>
                <a:gd name="T75" fmla="*/ 271 h 233"/>
                <a:gd name="T76" fmla="*/ 7663907 w 209"/>
                <a:gd name="T77" fmla="*/ 262 h 233"/>
                <a:gd name="T78" fmla="*/ 4736205 w 209"/>
                <a:gd name="T79" fmla="*/ 273 h 233"/>
                <a:gd name="T80" fmla="*/ 4027078 w 209"/>
                <a:gd name="T81" fmla="*/ 271 h 233"/>
                <a:gd name="T82" fmla="*/ 3249650 w 209"/>
                <a:gd name="T83" fmla="*/ 271 h 233"/>
                <a:gd name="T84" fmla="*/ 0 w 209"/>
                <a:gd name="T85" fmla="*/ 273 h 233"/>
                <a:gd name="T86" fmla="*/ 1377916 w 209"/>
                <a:gd name="T87" fmla="*/ 262 h 233"/>
                <a:gd name="T88" fmla="*/ 888734 w 209"/>
                <a:gd name="T89" fmla="*/ 234 h 233"/>
                <a:gd name="T90" fmla="*/ 3249650 w 209"/>
                <a:gd name="T91" fmla="*/ 183 h 233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09"/>
                <a:gd name="T139" fmla="*/ 0 h 233"/>
                <a:gd name="T140" fmla="*/ 209 w 209"/>
                <a:gd name="T141" fmla="*/ 233 h 233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09" h="233">
                  <a:moveTo>
                    <a:pt x="31" y="96"/>
                  </a:moveTo>
                  <a:lnTo>
                    <a:pt x="36" y="108"/>
                  </a:lnTo>
                  <a:lnTo>
                    <a:pt x="48" y="108"/>
                  </a:lnTo>
                  <a:lnTo>
                    <a:pt x="61" y="96"/>
                  </a:lnTo>
                  <a:lnTo>
                    <a:pt x="61" y="91"/>
                  </a:lnTo>
                  <a:lnTo>
                    <a:pt x="48" y="86"/>
                  </a:lnTo>
                  <a:lnTo>
                    <a:pt x="78" y="55"/>
                  </a:lnTo>
                  <a:lnTo>
                    <a:pt x="80" y="43"/>
                  </a:lnTo>
                  <a:lnTo>
                    <a:pt x="116" y="20"/>
                  </a:lnTo>
                  <a:lnTo>
                    <a:pt x="126" y="20"/>
                  </a:lnTo>
                  <a:lnTo>
                    <a:pt x="133" y="32"/>
                  </a:lnTo>
                  <a:lnTo>
                    <a:pt x="150" y="20"/>
                  </a:lnTo>
                  <a:lnTo>
                    <a:pt x="164" y="14"/>
                  </a:lnTo>
                  <a:lnTo>
                    <a:pt x="167" y="14"/>
                  </a:lnTo>
                  <a:lnTo>
                    <a:pt x="169" y="0"/>
                  </a:lnTo>
                  <a:lnTo>
                    <a:pt x="169" y="21"/>
                  </a:lnTo>
                  <a:lnTo>
                    <a:pt x="167" y="32"/>
                  </a:lnTo>
                  <a:lnTo>
                    <a:pt x="162" y="43"/>
                  </a:lnTo>
                  <a:lnTo>
                    <a:pt x="209" y="91"/>
                  </a:lnTo>
                  <a:lnTo>
                    <a:pt x="192" y="103"/>
                  </a:lnTo>
                  <a:lnTo>
                    <a:pt x="167" y="108"/>
                  </a:lnTo>
                  <a:lnTo>
                    <a:pt x="162" y="168"/>
                  </a:lnTo>
                  <a:lnTo>
                    <a:pt x="167" y="199"/>
                  </a:lnTo>
                  <a:lnTo>
                    <a:pt x="144" y="199"/>
                  </a:lnTo>
                  <a:lnTo>
                    <a:pt x="150" y="187"/>
                  </a:lnTo>
                  <a:lnTo>
                    <a:pt x="137" y="187"/>
                  </a:lnTo>
                  <a:lnTo>
                    <a:pt x="133" y="199"/>
                  </a:lnTo>
                  <a:lnTo>
                    <a:pt x="108" y="204"/>
                  </a:lnTo>
                  <a:lnTo>
                    <a:pt x="116" y="216"/>
                  </a:lnTo>
                  <a:lnTo>
                    <a:pt x="90" y="229"/>
                  </a:lnTo>
                  <a:lnTo>
                    <a:pt x="90" y="233"/>
                  </a:lnTo>
                  <a:lnTo>
                    <a:pt x="80" y="229"/>
                  </a:lnTo>
                  <a:lnTo>
                    <a:pt x="67" y="216"/>
                  </a:lnTo>
                  <a:lnTo>
                    <a:pt x="61" y="199"/>
                  </a:lnTo>
                  <a:lnTo>
                    <a:pt x="72" y="180"/>
                  </a:lnTo>
                  <a:lnTo>
                    <a:pt x="80" y="163"/>
                  </a:lnTo>
                  <a:lnTo>
                    <a:pt x="84" y="144"/>
                  </a:lnTo>
                  <a:lnTo>
                    <a:pt x="84" y="138"/>
                  </a:lnTo>
                  <a:lnTo>
                    <a:pt x="72" y="132"/>
                  </a:lnTo>
                  <a:lnTo>
                    <a:pt x="44" y="139"/>
                  </a:lnTo>
                  <a:lnTo>
                    <a:pt x="38" y="138"/>
                  </a:lnTo>
                  <a:lnTo>
                    <a:pt x="31" y="138"/>
                  </a:lnTo>
                  <a:lnTo>
                    <a:pt x="0" y="139"/>
                  </a:lnTo>
                  <a:lnTo>
                    <a:pt x="13" y="132"/>
                  </a:lnTo>
                  <a:lnTo>
                    <a:pt x="8" y="115"/>
                  </a:lnTo>
                  <a:lnTo>
                    <a:pt x="31" y="96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64" name="Freeform 170"/>
            <p:cNvSpPr>
              <a:spLocks/>
            </p:cNvSpPr>
            <p:nvPr/>
          </p:nvSpPr>
          <p:spPr bwMode="auto">
            <a:xfrm>
              <a:off x="3406" y="1494"/>
              <a:ext cx="422" cy="289"/>
            </a:xfrm>
            <a:custGeom>
              <a:avLst/>
              <a:gdLst>
                <a:gd name="T0" fmla="*/ 18205513 w 342"/>
                <a:gd name="T1" fmla="*/ 230 h 285"/>
                <a:gd name="T2" fmla="*/ 17929806 w 342"/>
                <a:gd name="T3" fmla="*/ 107 h 285"/>
                <a:gd name="T4" fmla="*/ 14132992 w 342"/>
                <a:gd name="T5" fmla="*/ 159 h 285"/>
                <a:gd name="T6" fmla="*/ 12122634 w 342"/>
                <a:gd name="T7" fmla="*/ 197 h 285"/>
                <a:gd name="T8" fmla="*/ 10266667 w 342"/>
                <a:gd name="T9" fmla="*/ 153 h 285"/>
                <a:gd name="T10" fmla="*/ 12668223 w 342"/>
                <a:gd name="T11" fmla="*/ 11 h 285"/>
                <a:gd name="T12" fmla="*/ 17191785 w 342"/>
                <a:gd name="T13" fmla="*/ 24 h 285"/>
                <a:gd name="T14" fmla="*/ 20333261 w 342"/>
                <a:gd name="T15" fmla="*/ 11 h 285"/>
                <a:gd name="T16" fmla="*/ 19721070 w 342"/>
                <a:gd name="T17" fmla="*/ 131 h 285"/>
                <a:gd name="T18" fmla="*/ 21441037 w 342"/>
                <a:gd name="T19" fmla="*/ 275 h 285"/>
                <a:gd name="T20" fmla="*/ 20831048 w 342"/>
                <a:gd name="T21" fmla="*/ 308 h 285"/>
                <a:gd name="T22" fmla="*/ 21441037 w 342"/>
                <a:gd name="T23" fmla="*/ 334 h 285"/>
                <a:gd name="T24" fmla="*/ 23281845 w 342"/>
                <a:gd name="T25" fmla="*/ 378 h 285"/>
                <a:gd name="T26" fmla="*/ 23911578 w 342"/>
                <a:gd name="T27" fmla="*/ 404 h 285"/>
                <a:gd name="T28" fmla="*/ 25534090 w 342"/>
                <a:gd name="T29" fmla="*/ 429 h 285"/>
                <a:gd name="T30" fmla="*/ 26925259 w 342"/>
                <a:gd name="T31" fmla="*/ 416 h 285"/>
                <a:gd name="T32" fmla="*/ 27970890 w 342"/>
                <a:gd name="T33" fmla="*/ 436 h 285"/>
                <a:gd name="T34" fmla="*/ 26925259 w 342"/>
                <a:gd name="T35" fmla="*/ 478 h 285"/>
                <a:gd name="T36" fmla="*/ 22774853 w 342"/>
                <a:gd name="T37" fmla="*/ 543 h 285"/>
                <a:gd name="T38" fmla="*/ 20831048 w 342"/>
                <a:gd name="T39" fmla="*/ 544 h 285"/>
                <a:gd name="T40" fmla="*/ 17929806 w 342"/>
                <a:gd name="T41" fmla="*/ 602 h 285"/>
                <a:gd name="T42" fmla="*/ 17745498 w 342"/>
                <a:gd name="T43" fmla="*/ 543 h 285"/>
                <a:gd name="T44" fmla="*/ 15233528 w 342"/>
                <a:gd name="T45" fmla="*/ 515 h 285"/>
                <a:gd name="T46" fmla="*/ 13001569 w 342"/>
                <a:gd name="T47" fmla="*/ 551 h 285"/>
                <a:gd name="T48" fmla="*/ 9690457 w 342"/>
                <a:gd name="T49" fmla="*/ 552 h 285"/>
                <a:gd name="T50" fmla="*/ 7159089 w 342"/>
                <a:gd name="T51" fmla="*/ 568 h 285"/>
                <a:gd name="T52" fmla="*/ 4100761 w 342"/>
                <a:gd name="T53" fmla="*/ 568 h 285"/>
                <a:gd name="T54" fmla="*/ 1936151 w 342"/>
                <a:gd name="T55" fmla="*/ 568 h 285"/>
                <a:gd name="T56" fmla="*/ 1569108 w 342"/>
                <a:gd name="T57" fmla="*/ 501 h 285"/>
                <a:gd name="T58" fmla="*/ 3569528 w 342"/>
                <a:gd name="T59" fmla="*/ 464 h 285"/>
                <a:gd name="T60" fmla="*/ 5027715 w 342"/>
                <a:gd name="T61" fmla="*/ 429 h 285"/>
                <a:gd name="T62" fmla="*/ 4606359 w 342"/>
                <a:gd name="T63" fmla="*/ 320 h 285"/>
                <a:gd name="T64" fmla="*/ 5027715 w 342"/>
                <a:gd name="T65" fmla="*/ 296 h 285"/>
                <a:gd name="T66" fmla="*/ 4100761 w 342"/>
                <a:gd name="T67" fmla="*/ 260 h 285"/>
                <a:gd name="T68" fmla="*/ 4606359 w 342"/>
                <a:gd name="T69" fmla="*/ 179 h 285"/>
                <a:gd name="T70" fmla="*/ 5027715 w 342"/>
                <a:gd name="T71" fmla="*/ 165 h 285"/>
                <a:gd name="T72" fmla="*/ 6596294 w 342"/>
                <a:gd name="T73" fmla="*/ 197 h 285"/>
                <a:gd name="T74" fmla="*/ 7654961 w 342"/>
                <a:gd name="T75" fmla="*/ 165 h 285"/>
                <a:gd name="T76" fmla="*/ 9690457 w 342"/>
                <a:gd name="T77" fmla="*/ 260 h 285"/>
                <a:gd name="T78" fmla="*/ 11843966 w 342"/>
                <a:gd name="T79" fmla="*/ 334 h 285"/>
                <a:gd name="T80" fmla="*/ 13197337 w 342"/>
                <a:gd name="T81" fmla="*/ 320 h 285"/>
                <a:gd name="T82" fmla="*/ 13197337 w 342"/>
                <a:gd name="T83" fmla="*/ 275 h 285"/>
                <a:gd name="T84" fmla="*/ 15704924 w 342"/>
                <a:gd name="T85" fmla="*/ 275 h 285"/>
                <a:gd name="T86" fmla="*/ 17684276 w 342"/>
                <a:gd name="T87" fmla="*/ 307 h 285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42"/>
                <a:gd name="T133" fmla="*/ 0 h 285"/>
                <a:gd name="T134" fmla="*/ 342 w 342"/>
                <a:gd name="T135" fmla="*/ 285 h 285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42" h="285">
                  <a:moveTo>
                    <a:pt x="211" y="149"/>
                  </a:moveTo>
                  <a:lnTo>
                    <a:pt x="215" y="106"/>
                  </a:lnTo>
                  <a:lnTo>
                    <a:pt x="215" y="77"/>
                  </a:lnTo>
                  <a:lnTo>
                    <a:pt x="211" y="53"/>
                  </a:lnTo>
                  <a:lnTo>
                    <a:pt x="185" y="70"/>
                  </a:lnTo>
                  <a:lnTo>
                    <a:pt x="167" y="79"/>
                  </a:lnTo>
                  <a:lnTo>
                    <a:pt x="150" y="90"/>
                  </a:lnTo>
                  <a:lnTo>
                    <a:pt x="143" y="95"/>
                  </a:lnTo>
                  <a:lnTo>
                    <a:pt x="131" y="95"/>
                  </a:lnTo>
                  <a:lnTo>
                    <a:pt x="121" y="76"/>
                  </a:lnTo>
                  <a:lnTo>
                    <a:pt x="131" y="0"/>
                  </a:lnTo>
                  <a:lnTo>
                    <a:pt x="149" y="11"/>
                  </a:lnTo>
                  <a:lnTo>
                    <a:pt x="173" y="11"/>
                  </a:lnTo>
                  <a:lnTo>
                    <a:pt x="203" y="24"/>
                  </a:lnTo>
                  <a:lnTo>
                    <a:pt x="232" y="11"/>
                  </a:lnTo>
                  <a:lnTo>
                    <a:pt x="239" y="11"/>
                  </a:lnTo>
                  <a:lnTo>
                    <a:pt x="232" y="47"/>
                  </a:lnTo>
                  <a:lnTo>
                    <a:pt x="232" y="65"/>
                  </a:lnTo>
                  <a:lnTo>
                    <a:pt x="245" y="101"/>
                  </a:lnTo>
                  <a:lnTo>
                    <a:pt x="251" y="131"/>
                  </a:lnTo>
                  <a:lnTo>
                    <a:pt x="251" y="137"/>
                  </a:lnTo>
                  <a:lnTo>
                    <a:pt x="245" y="148"/>
                  </a:lnTo>
                  <a:lnTo>
                    <a:pt x="245" y="167"/>
                  </a:lnTo>
                  <a:lnTo>
                    <a:pt x="251" y="160"/>
                  </a:lnTo>
                  <a:lnTo>
                    <a:pt x="257" y="137"/>
                  </a:lnTo>
                  <a:lnTo>
                    <a:pt x="274" y="177"/>
                  </a:lnTo>
                  <a:lnTo>
                    <a:pt x="275" y="184"/>
                  </a:lnTo>
                  <a:lnTo>
                    <a:pt x="281" y="190"/>
                  </a:lnTo>
                  <a:lnTo>
                    <a:pt x="287" y="203"/>
                  </a:lnTo>
                  <a:lnTo>
                    <a:pt x="300" y="203"/>
                  </a:lnTo>
                  <a:lnTo>
                    <a:pt x="310" y="207"/>
                  </a:lnTo>
                  <a:lnTo>
                    <a:pt x="317" y="196"/>
                  </a:lnTo>
                  <a:lnTo>
                    <a:pt x="342" y="217"/>
                  </a:lnTo>
                  <a:lnTo>
                    <a:pt x="329" y="207"/>
                  </a:lnTo>
                  <a:lnTo>
                    <a:pt x="329" y="214"/>
                  </a:lnTo>
                  <a:lnTo>
                    <a:pt x="317" y="226"/>
                  </a:lnTo>
                  <a:lnTo>
                    <a:pt x="287" y="232"/>
                  </a:lnTo>
                  <a:lnTo>
                    <a:pt x="268" y="255"/>
                  </a:lnTo>
                  <a:lnTo>
                    <a:pt x="264" y="243"/>
                  </a:lnTo>
                  <a:lnTo>
                    <a:pt x="245" y="256"/>
                  </a:lnTo>
                  <a:lnTo>
                    <a:pt x="228" y="285"/>
                  </a:lnTo>
                  <a:lnTo>
                    <a:pt x="211" y="285"/>
                  </a:lnTo>
                  <a:lnTo>
                    <a:pt x="221" y="249"/>
                  </a:lnTo>
                  <a:lnTo>
                    <a:pt x="209" y="255"/>
                  </a:lnTo>
                  <a:lnTo>
                    <a:pt x="195" y="249"/>
                  </a:lnTo>
                  <a:lnTo>
                    <a:pt x="179" y="243"/>
                  </a:lnTo>
                  <a:lnTo>
                    <a:pt x="173" y="249"/>
                  </a:lnTo>
                  <a:lnTo>
                    <a:pt x="153" y="259"/>
                  </a:lnTo>
                  <a:lnTo>
                    <a:pt x="149" y="260"/>
                  </a:lnTo>
                  <a:lnTo>
                    <a:pt x="114" y="260"/>
                  </a:lnTo>
                  <a:lnTo>
                    <a:pt x="90" y="256"/>
                  </a:lnTo>
                  <a:lnTo>
                    <a:pt x="84" y="268"/>
                  </a:lnTo>
                  <a:lnTo>
                    <a:pt x="67" y="273"/>
                  </a:lnTo>
                  <a:lnTo>
                    <a:pt x="49" y="268"/>
                  </a:lnTo>
                  <a:lnTo>
                    <a:pt x="23" y="273"/>
                  </a:lnTo>
                  <a:lnTo>
                    <a:pt x="23" y="268"/>
                  </a:lnTo>
                  <a:lnTo>
                    <a:pt x="0" y="249"/>
                  </a:lnTo>
                  <a:lnTo>
                    <a:pt x="19" y="237"/>
                  </a:lnTo>
                  <a:lnTo>
                    <a:pt x="23" y="214"/>
                  </a:lnTo>
                  <a:lnTo>
                    <a:pt x="42" y="220"/>
                  </a:lnTo>
                  <a:lnTo>
                    <a:pt x="49" y="207"/>
                  </a:lnTo>
                  <a:lnTo>
                    <a:pt x="59" y="203"/>
                  </a:lnTo>
                  <a:lnTo>
                    <a:pt x="54" y="167"/>
                  </a:lnTo>
                  <a:lnTo>
                    <a:pt x="54" y="154"/>
                  </a:lnTo>
                  <a:lnTo>
                    <a:pt x="59" y="154"/>
                  </a:lnTo>
                  <a:lnTo>
                    <a:pt x="59" y="142"/>
                  </a:lnTo>
                  <a:lnTo>
                    <a:pt x="54" y="142"/>
                  </a:lnTo>
                  <a:lnTo>
                    <a:pt x="49" y="124"/>
                  </a:lnTo>
                  <a:lnTo>
                    <a:pt x="49" y="106"/>
                  </a:lnTo>
                  <a:lnTo>
                    <a:pt x="54" y="89"/>
                  </a:lnTo>
                  <a:lnTo>
                    <a:pt x="54" y="82"/>
                  </a:lnTo>
                  <a:lnTo>
                    <a:pt x="59" y="82"/>
                  </a:lnTo>
                  <a:lnTo>
                    <a:pt x="72" y="95"/>
                  </a:lnTo>
                  <a:lnTo>
                    <a:pt x="78" y="95"/>
                  </a:lnTo>
                  <a:lnTo>
                    <a:pt x="85" y="89"/>
                  </a:lnTo>
                  <a:lnTo>
                    <a:pt x="90" y="82"/>
                  </a:lnTo>
                  <a:lnTo>
                    <a:pt x="103" y="95"/>
                  </a:lnTo>
                  <a:lnTo>
                    <a:pt x="114" y="124"/>
                  </a:lnTo>
                  <a:lnTo>
                    <a:pt x="126" y="148"/>
                  </a:lnTo>
                  <a:lnTo>
                    <a:pt x="139" y="160"/>
                  </a:lnTo>
                  <a:lnTo>
                    <a:pt x="149" y="160"/>
                  </a:lnTo>
                  <a:lnTo>
                    <a:pt x="156" y="154"/>
                  </a:lnTo>
                  <a:lnTo>
                    <a:pt x="162" y="148"/>
                  </a:lnTo>
                  <a:lnTo>
                    <a:pt x="156" y="131"/>
                  </a:lnTo>
                  <a:lnTo>
                    <a:pt x="167" y="118"/>
                  </a:lnTo>
                  <a:lnTo>
                    <a:pt x="185" y="131"/>
                  </a:lnTo>
                  <a:lnTo>
                    <a:pt x="192" y="131"/>
                  </a:lnTo>
                  <a:lnTo>
                    <a:pt x="208" y="147"/>
                  </a:lnTo>
                  <a:lnTo>
                    <a:pt x="211" y="149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65" name="Freeform 171"/>
            <p:cNvSpPr>
              <a:spLocks/>
            </p:cNvSpPr>
            <p:nvPr/>
          </p:nvSpPr>
          <p:spPr bwMode="auto">
            <a:xfrm>
              <a:off x="3032" y="3074"/>
              <a:ext cx="280" cy="196"/>
            </a:xfrm>
            <a:custGeom>
              <a:avLst/>
              <a:gdLst>
                <a:gd name="T0" fmla="*/ 5855524 w 227"/>
                <a:gd name="T1" fmla="*/ 322 h 192"/>
                <a:gd name="T2" fmla="*/ 6886974 w 227"/>
                <a:gd name="T3" fmla="*/ 372 h 192"/>
                <a:gd name="T4" fmla="*/ 6886974 w 227"/>
                <a:gd name="T5" fmla="*/ 404 h 192"/>
                <a:gd name="T6" fmla="*/ 7462121 w 227"/>
                <a:gd name="T7" fmla="*/ 437 h 192"/>
                <a:gd name="T8" fmla="*/ 7910856 w 227"/>
                <a:gd name="T9" fmla="*/ 437 h 192"/>
                <a:gd name="T10" fmla="*/ 8746963 w 227"/>
                <a:gd name="T11" fmla="*/ 448 h 192"/>
                <a:gd name="T12" fmla="*/ 8958392 w 227"/>
                <a:gd name="T13" fmla="*/ 457 h 192"/>
                <a:gd name="T14" fmla="*/ 9367270 w 227"/>
                <a:gd name="T15" fmla="*/ 446 h 192"/>
                <a:gd name="T16" fmla="*/ 9898885 w 227"/>
                <a:gd name="T17" fmla="*/ 437 h 192"/>
                <a:gd name="T18" fmla="*/ 10081648 w 227"/>
                <a:gd name="T19" fmla="*/ 419 h 192"/>
                <a:gd name="T20" fmla="*/ 10376156 w 227"/>
                <a:gd name="T21" fmla="*/ 404 h 192"/>
                <a:gd name="T22" fmla="*/ 11011615 w 227"/>
                <a:gd name="T23" fmla="*/ 404 h 192"/>
                <a:gd name="T24" fmla="*/ 12036153 w 227"/>
                <a:gd name="T25" fmla="*/ 404 h 192"/>
                <a:gd name="T26" fmla="*/ 12924831 w 227"/>
                <a:gd name="T27" fmla="*/ 419 h 192"/>
                <a:gd name="T28" fmla="*/ 12392362 w 227"/>
                <a:gd name="T29" fmla="*/ 477 h 192"/>
                <a:gd name="T30" fmla="*/ 10989097 w 227"/>
                <a:gd name="T31" fmla="*/ 477 h 192"/>
                <a:gd name="T32" fmla="*/ 10081648 w 227"/>
                <a:gd name="T33" fmla="*/ 519 h 192"/>
                <a:gd name="T34" fmla="*/ 8958392 w 227"/>
                <a:gd name="T35" fmla="*/ 530 h 192"/>
                <a:gd name="T36" fmla="*/ 8494944 w 227"/>
                <a:gd name="T37" fmla="*/ 582 h 192"/>
                <a:gd name="T38" fmla="*/ 10376156 w 227"/>
                <a:gd name="T39" fmla="*/ 547 h 192"/>
                <a:gd name="T40" fmla="*/ 11050001 w 227"/>
                <a:gd name="T41" fmla="*/ 546 h 192"/>
                <a:gd name="T42" fmla="*/ 12798779 w 227"/>
                <a:gd name="T43" fmla="*/ 529 h 192"/>
                <a:gd name="T44" fmla="*/ 13888337 w 227"/>
                <a:gd name="T45" fmla="*/ 519 h 192"/>
                <a:gd name="T46" fmla="*/ 14528621 w 227"/>
                <a:gd name="T47" fmla="*/ 474 h 192"/>
                <a:gd name="T48" fmla="*/ 14528621 w 227"/>
                <a:gd name="T49" fmla="*/ 419 h 192"/>
                <a:gd name="T50" fmla="*/ 14846356 w 227"/>
                <a:gd name="T51" fmla="*/ 372 h 192"/>
                <a:gd name="T52" fmla="*/ 16415480 w 227"/>
                <a:gd name="T53" fmla="*/ 304 h 192"/>
                <a:gd name="T54" fmla="*/ 17386071 w 227"/>
                <a:gd name="T55" fmla="*/ 242 h 192"/>
                <a:gd name="T56" fmla="*/ 16913234 w 227"/>
                <a:gd name="T57" fmla="*/ 182 h 192"/>
                <a:gd name="T58" fmla="*/ 17871105 w 227"/>
                <a:gd name="T59" fmla="*/ 140 h 192"/>
                <a:gd name="T60" fmla="*/ 18920293 w 227"/>
                <a:gd name="T61" fmla="*/ 100 h 192"/>
                <a:gd name="T62" fmla="*/ 17871105 w 227"/>
                <a:gd name="T63" fmla="*/ 13 h 192"/>
                <a:gd name="T64" fmla="*/ 16415480 w 227"/>
                <a:gd name="T65" fmla="*/ 13 h 192"/>
                <a:gd name="T66" fmla="*/ 14846356 w 227"/>
                <a:gd name="T67" fmla="*/ 19 h 192"/>
                <a:gd name="T68" fmla="*/ 14528621 w 227"/>
                <a:gd name="T69" fmla="*/ 7 h 192"/>
                <a:gd name="T70" fmla="*/ 13872963 w 227"/>
                <a:gd name="T71" fmla="*/ 0 h 192"/>
                <a:gd name="T72" fmla="*/ 13888337 w 227"/>
                <a:gd name="T73" fmla="*/ 7 h 192"/>
                <a:gd name="T74" fmla="*/ 12924831 w 227"/>
                <a:gd name="T75" fmla="*/ 2 h 192"/>
                <a:gd name="T76" fmla="*/ 12036153 w 227"/>
                <a:gd name="T77" fmla="*/ 19 h 192"/>
                <a:gd name="T78" fmla="*/ 10376156 w 227"/>
                <a:gd name="T79" fmla="*/ 88 h 192"/>
                <a:gd name="T80" fmla="*/ 9898885 w 227"/>
                <a:gd name="T81" fmla="*/ 13 h 192"/>
                <a:gd name="T82" fmla="*/ 6886974 w 227"/>
                <a:gd name="T83" fmla="*/ 100 h 192"/>
                <a:gd name="T84" fmla="*/ 4660806 w 227"/>
                <a:gd name="T85" fmla="*/ 9 h 192"/>
                <a:gd name="T86" fmla="*/ 4020129 w 227"/>
                <a:gd name="T87" fmla="*/ 2 h 192"/>
                <a:gd name="T88" fmla="*/ 2975088 w 227"/>
                <a:gd name="T89" fmla="*/ 7 h 192"/>
                <a:gd name="T90" fmla="*/ 1128945 w 227"/>
                <a:gd name="T91" fmla="*/ 110 h 192"/>
                <a:gd name="T92" fmla="*/ 1128945 w 227"/>
                <a:gd name="T93" fmla="*/ 158 h 192"/>
                <a:gd name="T94" fmla="*/ 1 w 227"/>
                <a:gd name="T95" fmla="*/ 218 h 192"/>
                <a:gd name="T96" fmla="*/ 0 w 227"/>
                <a:gd name="T97" fmla="*/ 223 h 192"/>
                <a:gd name="T98" fmla="*/ 2852525 w 227"/>
                <a:gd name="T99" fmla="*/ 273 h 192"/>
                <a:gd name="T100" fmla="*/ 4526517 w 227"/>
                <a:gd name="T101" fmla="*/ 292 h 192"/>
                <a:gd name="T102" fmla="*/ 4020129 w 227"/>
                <a:gd name="T103" fmla="*/ 404 h 192"/>
                <a:gd name="T104" fmla="*/ 4526517 w 227"/>
                <a:gd name="T105" fmla="*/ 457 h 192"/>
                <a:gd name="T106" fmla="*/ 6049649 w 227"/>
                <a:gd name="T107" fmla="*/ 519 h 192"/>
                <a:gd name="T108" fmla="*/ 6886974 w 227"/>
                <a:gd name="T109" fmla="*/ 519 h 192"/>
                <a:gd name="T110" fmla="*/ 6088928 w 227"/>
                <a:gd name="T111" fmla="*/ 422 h 192"/>
                <a:gd name="T112" fmla="*/ 5583369 w 227"/>
                <a:gd name="T113" fmla="*/ 380 h 192"/>
                <a:gd name="T114" fmla="*/ 5471675 w 227"/>
                <a:gd name="T115" fmla="*/ 372 h 192"/>
                <a:gd name="T116" fmla="*/ 5749010 w 227"/>
                <a:gd name="T117" fmla="*/ 344 h 192"/>
                <a:gd name="T118" fmla="*/ 5855524 w 227"/>
                <a:gd name="T119" fmla="*/ 322 h 19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27"/>
                <a:gd name="T181" fmla="*/ 0 h 192"/>
                <a:gd name="T182" fmla="*/ 227 w 227"/>
                <a:gd name="T183" fmla="*/ 192 h 19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27" h="192">
                  <a:moveTo>
                    <a:pt x="70" y="107"/>
                  </a:moveTo>
                  <a:lnTo>
                    <a:pt x="83" y="121"/>
                  </a:lnTo>
                  <a:lnTo>
                    <a:pt x="83" y="133"/>
                  </a:lnTo>
                  <a:lnTo>
                    <a:pt x="89" y="144"/>
                  </a:lnTo>
                  <a:lnTo>
                    <a:pt x="95" y="144"/>
                  </a:lnTo>
                  <a:lnTo>
                    <a:pt x="105" y="148"/>
                  </a:lnTo>
                  <a:lnTo>
                    <a:pt x="108" y="151"/>
                  </a:lnTo>
                  <a:lnTo>
                    <a:pt x="113" y="147"/>
                  </a:lnTo>
                  <a:lnTo>
                    <a:pt x="119" y="144"/>
                  </a:lnTo>
                  <a:lnTo>
                    <a:pt x="121" y="138"/>
                  </a:lnTo>
                  <a:lnTo>
                    <a:pt x="125" y="133"/>
                  </a:lnTo>
                  <a:lnTo>
                    <a:pt x="132" y="133"/>
                  </a:lnTo>
                  <a:lnTo>
                    <a:pt x="144" y="133"/>
                  </a:lnTo>
                  <a:lnTo>
                    <a:pt x="155" y="138"/>
                  </a:lnTo>
                  <a:lnTo>
                    <a:pt x="148" y="157"/>
                  </a:lnTo>
                  <a:lnTo>
                    <a:pt x="131" y="157"/>
                  </a:lnTo>
                  <a:lnTo>
                    <a:pt x="121" y="170"/>
                  </a:lnTo>
                  <a:lnTo>
                    <a:pt x="108" y="174"/>
                  </a:lnTo>
                  <a:lnTo>
                    <a:pt x="102" y="192"/>
                  </a:lnTo>
                  <a:lnTo>
                    <a:pt x="125" y="180"/>
                  </a:lnTo>
                  <a:lnTo>
                    <a:pt x="133" y="179"/>
                  </a:lnTo>
                  <a:lnTo>
                    <a:pt x="154" y="173"/>
                  </a:lnTo>
                  <a:lnTo>
                    <a:pt x="167" y="170"/>
                  </a:lnTo>
                  <a:lnTo>
                    <a:pt x="174" y="156"/>
                  </a:lnTo>
                  <a:lnTo>
                    <a:pt x="174" y="138"/>
                  </a:lnTo>
                  <a:lnTo>
                    <a:pt x="178" y="121"/>
                  </a:lnTo>
                  <a:lnTo>
                    <a:pt x="197" y="102"/>
                  </a:lnTo>
                  <a:lnTo>
                    <a:pt x="208" y="79"/>
                  </a:lnTo>
                  <a:lnTo>
                    <a:pt x="203" y="62"/>
                  </a:lnTo>
                  <a:lnTo>
                    <a:pt x="214" y="49"/>
                  </a:lnTo>
                  <a:lnTo>
                    <a:pt x="227" y="32"/>
                  </a:lnTo>
                  <a:lnTo>
                    <a:pt x="214" y="13"/>
                  </a:lnTo>
                  <a:lnTo>
                    <a:pt x="197" y="13"/>
                  </a:lnTo>
                  <a:lnTo>
                    <a:pt x="178" y="19"/>
                  </a:lnTo>
                  <a:lnTo>
                    <a:pt x="174" y="7"/>
                  </a:lnTo>
                  <a:lnTo>
                    <a:pt x="165" y="0"/>
                  </a:lnTo>
                  <a:lnTo>
                    <a:pt x="167" y="7"/>
                  </a:lnTo>
                  <a:lnTo>
                    <a:pt x="155" y="2"/>
                  </a:lnTo>
                  <a:lnTo>
                    <a:pt x="144" y="19"/>
                  </a:lnTo>
                  <a:lnTo>
                    <a:pt x="125" y="26"/>
                  </a:lnTo>
                  <a:lnTo>
                    <a:pt x="119" y="13"/>
                  </a:lnTo>
                  <a:lnTo>
                    <a:pt x="83" y="32"/>
                  </a:lnTo>
                  <a:lnTo>
                    <a:pt x="56" y="9"/>
                  </a:lnTo>
                  <a:lnTo>
                    <a:pt x="49" y="2"/>
                  </a:lnTo>
                  <a:lnTo>
                    <a:pt x="36" y="7"/>
                  </a:lnTo>
                  <a:lnTo>
                    <a:pt x="13" y="37"/>
                  </a:lnTo>
                  <a:lnTo>
                    <a:pt x="13" y="55"/>
                  </a:lnTo>
                  <a:lnTo>
                    <a:pt x="1" y="71"/>
                  </a:lnTo>
                  <a:lnTo>
                    <a:pt x="0" y="72"/>
                  </a:lnTo>
                  <a:lnTo>
                    <a:pt x="34" y="91"/>
                  </a:lnTo>
                  <a:lnTo>
                    <a:pt x="54" y="98"/>
                  </a:lnTo>
                  <a:lnTo>
                    <a:pt x="49" y="133"/>
                  </a:lnTo>
                  <a:lnTo>
                    <a:pt x="54" y="151"/>
                  </a:lnTo>
                  <a:lnTo>
                    <a:pt x="72" y="170"/>
                  </a:lnTo>
                  <a:lnTo>
                    <a:pt x="83" y="170"/>
                  </a:lnTo>
                  <a:lnTo>
                    <a:pt x="73" y="140"/>
                  </a:lnTo>
                  <a:lnTo>
                    <a:pt x="67" y="124"/>
                  </a:lnTo>
                  <a:lnTo>
                    <a:pt x="66" y="121"/>
                  </a:lnTo>
                  <a:lnTo>
                    <a:pt x="69" y="114"/>
                  </a:lnTo>
                  <a:lnTo>
                    <a:pt x="70" y="107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66" name="Freeform 172"/>
            <p:cNvSpPr>
              <a:spLocks/>
            </p:cNvSpPr>
            <p:nvPr/>
          </p:nvSpPr>
          <p:spPr bwMode="auto">
            <a:xfrm>
              <a:off x="2243" y="3198"/>
              <a:ext cx="257" cy="223"/>
            </a:xfrm>
            <a:custGeom>
              <a:avLst/>
              <a:gdLst>
                <a:gd name="T0" fmla="*/ 10561998 w 209"/>
                <a:gd name="T1" fmla="*/ 373 h 220"/>
                <a:gd name="T2" fmla="*/ 12231362 w 209"/>
                <a:gd name="T3" fmla="*/ 373 h 220"/>
                <a:gd name="T4" fmla="*/ 12669949 w 209"/>
                <a:gd name="T5" fmla="*/ 317 h 220"/>
                <a:gd name="T6" fmla="*/ 13465198 w 209"/>
                <a:gd name="T7" fmla="*/ 293 h 220"/>
                <a:gd name="T8" fmla="*/ 14755519 w 209"/>
                <a:gd name="T9" fmla="*/ 267 h 220"/>
                <a:gd name="T10" fmla="*/ 14340178 w 209"/>
                <a:gd name="T11" fmla="*/ 238 h 220"/>
                <a:gd name="T12" fmla="*/ 13465198 w 209"/>
                <a:gd name="T13" fmla="*/ 202 h 220"/>
                <a:gd name="T14" fmla="*/ 13174672 w 209"/>
                <a:gd name="T15" fmla="*/ 149 h 220"/>
                <a:gd name="T16" fmla="*/ 13465198 w 209"/>
                <a:gd name="T17" fmla="*/ 115 h 220"/>
                <a:gd name="T18" fmla="*/ 13874312 w 209"/>
                <a:gd name="T19" fmla="*/ 30 h 220"/>
                <a:gd name="T20" fmla="*/ 14340178 w 209"/>
                <a:gd name="T21" fmla="*/ 4 h 220"/>
                <a:gd name="T22" fmla="*/ 13465198 w 209"/>
                <a:gd name="T23" fmla="*/ 12 h 220"/>
                <a:gd name="T24" fmla="*/ 12918951 w 209"/>
                <a:gd name="T25" fmla="*/ 14 h 220"/>
                <a:gd name="T26" fmla="*/ 12231362 w 209"/>
                <a:gd name="T27" fmla="*/ 17 h 220"/>
                <a:gd name="T28" fmla="*/ 10950297 w 209"/>
                <a:gd name="T29" fmla="*/ 30 h 220"/>
                <a:gd name="T30" fmla="*/ 10182640 w 209"/>
                <a:gd name="T31" fmla="*/ 23 h 220"/>
                <a:gd name="T32" fmla="*/ 10561998 w 209"/>
                <a:gd name="T33" fmla="*/ 12 h 220"/>
                <a:gd name="T34" fmla="*/ 9278939 w 209"/>
                <a:gd name="T35" fmla="*/ 0 h 220"/>
                <a:gd name="T36" fmla="*/ 8070843 w 209"/>
                <a:gd name="T37" fmla="*/ 0 h 220"/>
                <a:gd name="T38" fmla="*/ 7139519 w 209"/>
                <a:gd name="T39" fmla="*/ 12 h 220"/>
                <a:gd name="T40" fmla="*/ 5806071 w 209"/>
                <a:gd name="T41" fmla="*/ 17 h 220"/>
                <a:gd name="T42" fmla="*/ 5100594 w 209"/>
                <a:gd name="T43" fmla="*/ 12 h 220"/>
                <a:gd name="T44" fmla="*/ 3736861 w 209"/>
                <a:gd name="T45" fmla="*/ 12 h 220"/>
                <a:gd name="T46" fmla="*/ 2980354 w 209"/>
                <a:gd name="T47" fmla="*/ 35 h 220"/>
                <a:gd name="T48" fmla="*/ 2520260 w 209"/>
                <a:gd name="T49" fmla="*/ 107 h 220"/>
                <a:gd name="T50" fmla="*/ 529880 w 209"/>
                <a:gd name="T51" fmla="*/ 115 h 220"/>
                <a:gd name="T52" fmla="*/ 1711524 w 209"/>
                <a:gd name="T53" fmla="*/ 163 h 220"/>
                <a:gd name="T54" fmla="*/ 666756 w 209"/>
                <a:gd name="T55" fmla="*/ 169 h 220"/>
                <a:gd name="T56" fmla="*/ 0 w 209"/>
                <a:gd name="T57" fmla="*/ 176 h 220"/>
                <a:gd name="T58" fmla="*/ 529880 w 209"/>
                <a:gd name="T59" fmla="*/ 209 h 220"/>
                <a:gd name="T60" fmla="*/ 529880 w 209"/>
                <a:gd name="T61" fmla="*/ 248 h 220"/>
                <a:gd name="T62" fmla="*/ 284982 w 209"/>
                <a:gd name="T63" fmla="*/ 277 h 220"/>
                <a:gd name="T64" fmla="*/ 0 w 209"/>
                <a:gd name="T65" fmla="*/ 317 h 220"/>
                <a:gd name="T66" fmla="*/ 1874568 w 209"/>
                <a:gd name="T67" fmla="*/ 386 h 220"/>
                <a:gd name="T68" fmla="*/ 2104601 w 209"/>
                <a:gd name="T69" fmla="*/ 396 h 220"/>
                <a:gd name="T70" fmla="*/ 3470941 w 209"/>
                <a:gd name="T71" fmla="*/ 418 h 220"/>
                <a:gd name="T72" fmla="*/ 3736861 w 209"/>
                <a:gd name="T73" fmla="*/ 454 h 220"/>
                <a:gd name="T74" fmla="*/ 4686039 w 209"/>
                <a:gd name="T75" fmla="*/ 442 h 220"/>
                <a:gd name="T76" fmla="*/ 5806071 w 209"/>
                <a:gd name="T77" fmla="*/ 442 h 220"/>
                <a:gd name="T78" fmla="*/ 6453681 w 209"/>
                <a:gd name="T79" fmla="*/ 432 h 220"/>
                <a:gd name="T80" fmla="*/ 7649176 w 209"/>
                <a:gd name="T81" fmla="*/ 406 h 220"/>
                <a:gd name="T82" fmla="*/ 8303554 w 209"/>
                <a:gd name="T83" fmla="*/ 414 h 220"/>
                <a:gd name="T84" fmla="*/ 8543851 w 209"/>
                <a:gd name="T85" fmla="*/ 418 h 220"/>
                <a:gd name="T86" fmla="*/ 8543851 w 209"/>
                <a:gd name="T87" fmla="*/ 454 h 220"/>
                <a:gd name="T88" fmla="*/ 9278939 w 209"/>
                <a:gd name="T89" fmla="*/ 432 h 220"/>
                <a:gd name="T90" fmla="*/ 10561998 w 209"/>
                <a:gd name="T91" fmla="*/ 418 h 220"/>
                <a:gd name="T92" fmla="*/ 10950297 w 209"/>
                <a:gd name="T93" fmla="*/ 396 h 220"/>
                <a:gd name="T94" fmla="*/ 10743664 w 209"/>
                <a:gd name="T95" fmla="*/ 383 h 220"/>
                <a:gd name="T96" fmla="*/ 10561998 w 209"/>
                <a:gd name="T97" fmla="*/ 373 h 22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9"/>
                <a:gd name="T148" fmla="*/ 0 h 220"/>
                <a:gd name="T149" fmla="*/ 209 w 209"/>
                <a:gd name="T150" fmla="*/ 220 h 22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9" h="220">
                  <a:moveTo>
                    <a:pt x="150" y="179"/>
                  </a:moveTo>
                  <a:lnTo>
                    <a:pt x="173" y="179"/>
                  </a:lnTo>
                  <a:lnTo>
                    <a:pt x="180" y="155"/>
                  </a:lnTo>
                  <a:lnTo>
                    <a:pt x="191" y="143"/>
                  </a:lnTo>
                  <a:lnTo>
                    <a:pt x="209" y="130"/>
                  </a:lnTo>
                  <a:lnTo>
                    <a:pt x="203" y="112"/>
                  </a:lnTo>
                  <a:lnTo>
                    <a:pt x="191" y="99"/>
                  </a:lnTo>
                  <a:lnTo>
                    <a:pt x="186" y="76"/>
                  </a:lnTo>
                  <a:lnTo>
                    <a:pt x="191" y="59"/>
                  </a:lnTo>
                  <a:lnTo>
                    <a:pt x="197" y="30"/>
                  </a:lnTo>
                  <a:lnTo>
                    <a:pt x="203" y="4"/>
                  </a:lnTo>
                  <a:lnTo>
                    <a:pt x="191" y="12"/>
                  </a:lnTo>
                  <a:lnTo>
                    <a:pt x="183" y="14"/>
                  </a:lnTo>
                  <a:lnTo>
                    <a:pt x="173" y="17"/>
                  </a:lnTo>
                  <a:lnTo>
                    <a:pt x="155" y="30"/>
                  </a:lnTo>
                  <a:lnTo>
                    <a:pt x="144" y="23"/>
                  </a:lnTo>
                  <a:lnTo>
                    <a:pt x="150" y="12"/>
                  </a:lnTo>
                  <a:lnTo>
                    <a:pt x="132" y="0"/>
                  </a:lnTo>
                  <a:lnTo>
                    <a:pt x="114" y="0"/>
                  </a:lnTo>
                  <a:lnTo>
                    <a:pt x="102" y="12"/>
                  </a:lnTo>
                  <a:lnTo>
                    <a:pt x="83" y="17"/>
                  </a:lnTo>
                  <a:lnTo>
                    <a:pt x="72" y="12"/>
                  </a:lnTo>
                  <a:lnTo>
                    <a:pt x="53" y="12"/>
                  </a:lnTo>
                  <a:lnTo>
                    <a:pt x="42" y="35"/>
                  </a:lnTo>
                  <a:lnTo>
                    <a:pt x="36" y="53"/>
                  </a:lnTo>
                  <a:lnTo>
                    <a:pt x="7" y="59"/>
                  </a:lnTo>
                  <a:lnTo>
                    <a:pt x="24" y="83"/>
                  </a:lnTo>
                  <a:lnTo>
                    <a:pt x="10" y="86"/>
                  </a:lnTo>
                  <a:lnTo>
                    <a:pt x="0" y="89"/>
                  </a:lnTo>
                  <a:lnTo>
                    <a:pt x="7" y="102"/>
                  </a:lnTo>
                  <a:lnTo>
                    <a:pt x="7" y="119"/>
                  </a:lnTo>
                  <a:lnTo>
                    <a:pt x="4" y="135"/>
                  </a:lnTo>
                  <a:lnTo>
                    <a:pt x="0" y="155"/>
                  </a:lnTo>
                  <a:lnTo>
                    <a:pt x="27" y="184"/>
                  </a:lnTo>
                  <a:lnTo>
                    <a:pt x="30" y="190"/>
                  </a:lnTo>
                  <a:lnTo>
                    <a:pt x="49" y="202"/>
                  </a:lnTo>
                  <a:lnTo>
                    <a:pt x="53" y="220"/>
                  </a:lnTo>
                  <a:lnTo>
                    <a:pt x="66" y="214"/>
                  </a:lnTo>
                  <a:lnTo>
                    <a:pt x="83" y="214"/>
                  </a:lnTo>
                  <a:lnTo>
                    <a:pt x="91" y="209"/>
                  </a:lnTo>
                  <a:lnTo>
                    <a:pt x="108" y="196"/>
                  </a:lnTo>
                  <a:lnTo>
                    <a:pt x="118" y="200"/>
                  </a:lnTo>
                  <a:lnTo>
                    <a:pt x="121" y="202"/>
                  </a:lnTo>
                  <a:lnTo>
                    <a:pt x="121" y="220"/>
                  </a:lnTo>
                  <a:lnTo>
                    <a:pt x="132" y="209"/>
                  </a:lnTo>
                  <a:lnTo>
                    <a:pt x="150" y="202"/>
                  </a:lnTo>
                  <a:lnTo>
                    <a:pt x="155" y="190"/>
                  </a:lnTo>
                  <a:lnTo>
                    <a:pt x="152" y="183"/>
                  </a:lnTo>
                  <a:lnTo>
                    <a:pt x="150" y="179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67" name="Freeform 173"/>
            <p:cNvSpPr>
              <a:spLocks/>
            </p:cNvSpPr>
            <p:nvPr/>
          </p:nvSpPr>
          <p:spPr bwMode="auto">
            <a:xfrm>
              <a:off x="2177" y="3547"/>
              <a:ext cx="369" cy="300"/>
            </a:xfrm>
            <a:custGeom>
              <a:avLst/>
              <a:gdLst>
                <a:gd name="T0" fmla="*/ 14607941 w 298"/>
                <a:gd name="T1" fmla="*/ 13 h 294"/>
                <a:gd name="T2" fmla="*/ 13530046 w 298"/>
                <a:gd name="T3" fmla="*/ 84 h 294"/>
                <a:gd name="T4" fmla="*/ 11584213 w 298"/>
                <a:gd name="T5" fmla="*/ 94 h 294"/>
                <a:gd name="T6" fmla="*/ 9770257 w 298"/>
                <a:gd name="T7" fmla="*/ 94 h 294"/>
                <a:gd name="T8" fmla="*/ 7890344 w 298"/>
                <a:gd name="T9" fmla="*/ 136 h 294"/>
                <a:gd name="T10" fmla="*/ 7890344 w 298"/>
                <a:gd name="T11" fmla="*/ 172 h 294"/>
                <a:gd name="T12" fmla="*/ 6192459 w 298"/>
                <a:gd name="T13" fmla="*/ 357 h 294"/>
                <a:gd name="T14" fmla="*/ 4265924 w 298"/>
                <a:gd name="T15" fmla="*/ 357 h 294"/>
                <a:gd name="T16" fmla="*/ 3703613 w 298"/>
                <a:gd name="T17" fmla="*/ 409 h 294"/>
                <a:gd name="T18" fmla="*/ 3703613 w 298"/>
                <a:gd name="T19" fmla="*/ 462 h 294"/>
                <a:gd name="T20" fmla="*/ 2511052 w 298"/>
                <a:gd name="T21" fmla="*/ 554 h 294"/>
                <a:gd name="T22" fmla="*/ 751944 w 298"/>
                <a:gd name="T23" fmla="*/ 602 h 294"/>
                <a:gd name="T24" fmla="*/ 0 w 298"/>
                <a:gd name="T25" fmla="*/ 603 h 294"/>
                <a:gd name="T26" fmla="*/ 0 w 298"/>
                <a:gd name="T27" fmla="*/ 694 h 294"/>
                <a:gd name="T28" fmla="*/ 490417 w 298"/>
                <a:gd name="T29" fmla="*/ 767 h 294"/>
                <a:gd name="T30" fmla="*/ 3109323 w 298"/>
                <a:gd name="T31" fmla="*/ 746 h 294"/>
                <a:gd name="T32" fmla="*/ 2511052 w 298"/>
                <a:gd name="T33" fmla="*/ 784 h 294"/>
                <a:gd name="T34" fmla="*/ 1152937 w 298"/>
                <a:gd name="T35" fmla="*/ 817 h 294"/>
                <a:gd name="T36" fmla="*/ 490417 w 298"/>
                <a:gd name="T37" fmla="*/ 867 h 294"/>
                <a:gd name="T38" fmla="*/ 1814567 w 298"/>
                <a:gd name="T39" fmla="*/ 867 h 294"/>
                <a:gd name="T40" fmla="*/ 3109323 w 298"/>
                <a:gd name="T41" fmla="*/ 851 h 294"/>
                <a:gd name="T42" fmla="*/ 4265924 w 298"/>
                <a:gd name="T43" fmla="*/ 867 h 294"/>
                <a:gd name="T44" fmla="*/ 4787841 w 298"/>
                <a:gd name="T45" fmla="*/ 851 h 294"/>
                <a:gd name="T46" fmla="*/ 6815197 w 298"/>
                <a:gd name="T47" fmla="*/ 851 h 294"/>
                <a:gd name="T48" fmla="*/ 7890344 w 298"/>
                <a:gd name="T49" fmla="*/ 867 h 294"/>
                <a:gd name="T50" fmla="*/ 8587412 w 298"/>
                <a:gd name="T51" fmla="*/ 872 h 294"/>
                <a:gd name="T52" fmla="*/ 9090118 w 298"/>
                <a:gd name="T53" fmla="*/ 872 h 294"/>
                <a:gd name="T54" fmla="*/ 8587412 w 298"/>
                <a:gd name="T55" fmla="*/ 851 h 294"/>
                <a:gd name="T56" fmla="*/ 8587412 w 298"/>
                <a:gd name="T57" fmla="*/ 817 h 294"/>
                <a:gd name="T58" fmla="*/ 7341074 w 298"/>
                <a:gd name="T59" fmla="*/ 709 h 294"/>
                <a:gd name="T60" fmla="*/ 7341074 w 298"/>
                <a:gd name="T61" fmla="*/ 680 h 294"/>
                <a:gd name="T62" fmla="*/ 9090118 w 298"/>
                <a:gd name="T63" fmla="*/ 665 h 294"/>
                <a:gd name="T64" fmla="*/ 9090118 w 298"/>
                <a:gd name="T65" fmla="*/ 603 h 294"/>
                <a:gd name="T66" fmla="*/ 9828930 w 298"/>
                <a:gd name="T67" fmla="*/ 602 h 294"/>
                <a:gd name="T68" fmla="*/ 10449566 w 298"/>
                <a:gd name="T69" fmla="*/ 554 h 294"/>
                <a:gd name="T70" fmla="*/ 10449566 w 298"/>
                <a:gd name="T71" fmla="*/ 462 h 294"/>
                <a:gd name="T72" fmla="*/ 10852652 w 298"/>
                <a:gd name="T73" fmla="*/ 426 h 294"/>
                <a:gd name="T74" fmla="*/ 12872334 w 298"/>
                <a:gd name="T75" fmla="*/ 409 h 294"/>
                <a:gd name="T76" fmla="*/ 13937639 w 298"/>
                <a:gd name="T77" fmla="*/ 393 h 294"/>
                <a:gd name="T78" fmla="*/ 14607941 w 298"/>
                <a:gd name="T79" fmla="*/ 357 h 294"/>
                <a:gd name="T80" fmla="*/ 12872334 w 298"/>
                <a:gd name="T81" fmla="*/ 357 h 294"/>
                <a:gd name="T82" fmla="*/ 13937639 w 298"/>
                <a:gd name="T83" fmla="*/ 336 h 294"/>
                <a:gd name="T84" fmla="*/ 15939223 w 298"/>
                <a:gd name="T85" fmla="*/ 316 h 294"/>
                <a:gd name="T86" fmla="*/ 15939223 w 298"/>
                <a:gd name="T87" fmla="*/ 284 h 294"/>
                <a:gd name="T88" fmla="*/ 17184848 w 298"/>
                <a:gd name="T89" fmla="*/ 262 h 294"/>
                <a:gd name="T90" fmla="*/ 18199454 w 298"/>
                <a:gd name="T91" fmla="*/ 262 h 294"/>
                <a:gd name="T92" fmla="*/ 20850473 w 298"/>
                <a:gd name="T93" fmla="*/ 252 h 294"/>
                <a:gd name="T94" fmla="*/ 23698914 w 298"/>
                <a:gd name="T95" fmla="*/ 262 h 294"/>
                <a:gd name="T96" fmla="*/ 25687927 w 298"/>
                <a:gd name="T97" fmla="*/ 298 h 294"/>
                <a:gd name="T98" fmla="*/ 28306489 w 298"/>
                <a:gd name="T99" fmla="*/ 357 h 294"/>
                <a:gd name="T100" fmla="*/ 29345295 w 298"/>
                <a:gd name="T101" fmla="*/ 444 h 294"/>
                <a:gd name="T102" fmla="*/ 30042204 w 298"/>
                <a:gd name="T103" fmla="*/ 393 h 294"/>
                <a:gd name="T104" fmla="*/ 29345295 w 298"/>
                <a:gd name="T105" fmla="*/ 341 h 294"/>
                <a:gd name="T106" fmla="*/ 30042204 w 298"/>
                <a:gd name="T107" fmla="*/ 284 h 294"/>
                <a:gd name="T108" fmla="*/ 30632188 w 298"/>
                <a:gd name="T109" fmla="*/ 216 h 294"/>
                <a:gd name="T110" fmla="*/ 28802206 w 298"/>
                <a:gd name="T111" fmla="*/ 172 h 294"/>
                <a:gd name="T112" fmla="*/ 28306489 w 298"/>
                <a:gd name="T113" fmla="*/ 84 h 294"/>
                <a:gd name="T114" fmla="*/ 26349095 w 298"/>
                <a:gd name="T115" fmla="*/ 106 h 294"/>
                <a:gd name="T116" fmla="*/ 25687927 w 298"/>
                <a:gd name="T117" fmla="*/ 19 h 294"/>
                <a:gd name="T118" fmla="*/ 25687927 w 298"/>
                <a:gd name="T119" fmla="*/ 0 h 294"/>
                <a:gd name="T120" fmla="*/ 24566207 w 298"/>
                <a:gd name="T121" fmla="*/ 0 h 294"/>
                <a:gd name="T122" fmla="*/ 21993609 w 298"/>
                <a:gd name="T123" fmla="*/ 13 h 294"/>
                <a:gd name="T124" fmla="*/ 14607941 w 298"/>
                <a:gd name="T125" fmla="*/ 13 h 29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98"/>
                <a:gd name="T190" fmla="*/ 0 h 294"/>
                <a:gd name="T191" fmla="*/ 298 w 298"/>
                <a:gd name="T192" fmla="*/ 294 h 29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98" h="294">
                  <a:moveTo>
                    <a:pt x="142" y="13"/>
                  </a:moveTo>
                  <a:lnTo>
                    <a:pt x="132" y="25"/>
                  </a:lnTo>
                  <a:lnTo>
                    <a:pt x="113" y="30"/>
                  </a:lnTo>
                  <a:lnTo>
                    <a:pt x="95" y="30"/>
                  </a:lnTo>
                  <a:lnTo>
                    <a:pt x="77" y="49"/>
                  </a:lnTo>
                  <a:lnTo>
                    <a:pt x="77" y="61"/>
                  </a:lnTo>
                  <a:lnTo>
                    <a:pt x="60" y="120"/>
                  </a:lnTo>
                  <a:lnTo>
                    <a:pt x="41" y="120"/>
                  </a:lnTo>
                  <a:lnTo>
                    <a:pt x="36" y="138"/>
                  </a:lnTo>
                  <a:lnTo>
                    <a:pt x="36" y="156"/>
                  </a:lnTo>
                  <a:lnTo>
                    <a:pt x="24" y="186"/>
                  </a:lnTo>
                  <a:lnTo>
                    <a:pt x="7" y="203"/>
                  </a:lnTo>
                  <a:lnTo>
                    <a:pt x="0" y="204"/>
                  </a:lnTo>
                  <a:lnTo>
                    <a:pt x="0" y="233"/>
                  </a:lnTo>
                  <a:lnTo>
                    <a:pt x="5" y="258"/>
                  </a:lnTo>
                  <a:lnTo>
                    <a:pt x="30" y="251"/>
                  </a:lnTo>
                  <a:lnTo>
                    <a:pt x="24" y="264"/>
                  </a:lnTo>
                  <a:lnTo>
                    <a:pt x="11" y="275"/>
                  </a:lnTo>
                  <a:lnTo>
                    <a:pt x="5" y="292"/>
                  </a:lnTo>
                  <a:lnTo>
                    <a:pt x="18" y="292"/>
                  </a:lnTo>
                  <a:lnTo>
                    <a:pt x="30" y="287"/>
                  </a:lnTo>
                  <a:lnTo>
                    <a:pt x="41" y="292"/>
                  </a:lnTo>
                  <a:lnTo>
                    <a:pt x="47" y="287"/>
                  </a:lnTo>
                  <a:lnTo>
                    <a:pt x="66" y="287"/>
                  </a:lnTo>
                  <a:lnTo>
                    <a:pt x="77" y="292"/>
                  </a:lnTo>
                  <a:lnTo>
                    <a:pt x="83" y="294"/>
                  </a:lnTo>
                  <a:lnTo>
                    <a:pt x="89" y="294"/>
                  </a:lnTo>
                  <a:lnTo>
                    <a:pt x="83" y="287"/>
                  </a:lnTo>
                  <a:lnTo>
                    <a:pt x="83" y="275"/>
                  </a:lnTo>
                  <a:lnTo>
                    <a:pt x="72" y="239"/>
                  </a:lnTo>
                  <a:lnTo>
                    <a:pt x="72" y="228"/>
                  </a:lnTo>
                  <a:lnTo>
                    <a:pt x="89" y="222"/>
                  </a:lnTo>
                  <a:lnTo>
                    <a:pt x="89" y="204"/>
                  </a:lnTo>
                  <a:lnTo>
                    <a:pt x="96" y="203"/>
                  </a:lnTo>
                  <a:lnTo>
                    <a:pt x="102" y="186"/>
                  </a:lnTo>
                  <a:lnTo>
                    <a:pt x="102" y="156"/>
                  </a:lnTo>
                  <a:lnTo>
                    <a:pt x="106" y="144"/>
                  </a:lnTo>
                  <a:lnTo>
                    <a:pt x="125" y="138"/>
                  </a:lnTo>
                  <a:lnTo>
                    <a:pt x="136" y="132"/>
                  </a:lnTo>
                  <a:lnTo>
                    <a:pt x="142" y="120"/>
                  </a:lnTo>
                  <a:lnTo>
                    <a:pt x="125" y="120"/>
                  </a:lnTo>
                  <a:lnTo>
                    <a:pt x="136" y="114"/>
                  </a:lnTo>
                  <a:lnTo>
                    <a:pt x="155" y="108"/>
                  </a:lnTo>
                  <a:lnTo>
                    <a:pt x="155" y="97"/>
                  </a:lnTo>
                  <a:lnTo>
                    <a:pt x="167" y="89"/>
                  </a:lnTo>
                  <a:lnTo>
                    <a:pt x="178" y="89"/>
                  </a:lnTo>
                  <a:lnTo>
                    <a:pt x="203" y="85"/>
                  </a:lnTo>
                  <a:lnTo>
                    <a:pt x="231" y="89"/>
                  </a:lnTo>
                  <a:lnTo>
                    <a:pt x="250" y="102"/>
                  </a:lnTo>
                  <a:lnTo>
                    <a:pt x="275" y="120"/>
                  </a:lnTo>
                  <a:lnTo>
                    <a:pt x="286" y="150"/>
                  </a:lnTo>
                  <a:lnTo>
                    <a:pt x="292" y="132"/>
                  </a:lnTo>
                  <a:lnTo>
                    <a:pt x="286" y="115"/>
                  </a:lnTo>
                  <a:lnTo>
                    <a:pt x="292" y="97"/>
                  </a:lnTo>
                  <a:lnTo>
                    <a:pt x="298" y="72"/>
                  </a:lnTo>
                  <a:lnTo>
                    <a:pt x="280" y="61"/>
                  </a:lnTo>
                  <a:lnTo>
                    <a:pt x="275" y="25"/>
                  </a:lnTo>
                  <a:lnTo>
                    <a:pt x="256" y="36"/>
                  </a:lnTo>
                  <a:lnTo>
                    <a:pt x="250" y="19"/>
                  </a:lnTo>
                  <a:lnTo>
                    <a:pt x="250" y="0"/>
                  </a:lnTo>
                  <a:lnTo>
                    <a:pt x="239" y="0"/>
                  </a:lnTo>
                  <a:lnTo>
                    <a:pt x="214" y="13"/>
                  </a:lnTo>
                  <a:lnTo>
                    <a:pt x="142" y="13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  <p:sp>
          <p:nvSpPr>
            <p:cNvPr id="168" name="Freeform 174"/>
            <p:cNvSpPr>
              <a:spLocks/>
            </p:cNvSpPr>
            <p:nvPr/>
          </p:nvSpPr>
          <p:spPr bwMode="auto">
            <a:xfrm>
              <a:off x="2844" y="3086"/>
              <a:ext cx="67" cy="133"/>
            </a:xfrm>
            <a:custGeom>
              <a:avLst/>
              <a:gdLst>
                <a:gd name="T0" fmla="*/ 1804103 w 55"/>
                <a:gd name="T1" fmla="*/ 30 h 131"/>
                <a:gd name="T2" fmla="*/ 2363066 w 55"/>
                <a:gd name="T3" fmla="*/ 90 h 131"/>
                <a:gd name="T4" fmla="*/ 2363066 w 55"/>
                <a:gd name="T5" fmla="*/ 119 h 131"/>
                <a:gd name="T6" fmla="*/ 1592398 w 55"/>
                <a:gd name="T7" fmla="*/ 183 h 131"/>
                <a:gd name="T8" fmla="*/ 1007168 w 55"/>
                <a:gd name="T9" fmla="*/ 204 h 131"/>
                <a:gd name="T10" fmla="*/ 294022 w 55"/>
                <a:gd name="T11" fmla="*/ 258 h 131"/>
                <a:gd name="T12" fmla="*/ 294022 w 55"/>
                <a:gd name="T13" fmla="*/ 282 h 131"/>
                <a:gd name="T14" fmla="*/ 0 w 55"/>
                <a:gd name="T15" fmla="*/ 291 h 131"/>
                <a:gd name="T16" fmla="*/ 0 w 55"/>
                <a:gd name="T17" fmla="*/ 270 h 131"/>
                <a:gd name="T18" fmla="*/ 1 w 55"/>
                <a:gd name="T19" fmla="*/ 216 h 131"/>
                <a:gd name="T20" fmla="*/ 1 w 55"/>
                <a:gd name="T21" fmla="*/ 183 h 131"/>
                <a:gd name="T22" fmla="*/ 531516 w 55"/>
                <a:gd name="T23" fmla="*/ 105 h 131"/>
                <a:gd name="T24" fmla="*/ 294022 w 55"/>
                <a:gd name="T25" fmla="*/ 89 h 131"/>
                <a:gd name="T26" fmla="*/ 531516 w 55"/>
                <a:gd name="T27" fmla="*/ 19 h 131"/>
                <a:gd name="T28" fmla="*/ 1007168 w 55"/>
                <a:gd name="T29" fmla="*/ 12 h 131"/>
                <a:gd name="T30" fmla="*/ 1592398 w 55"/>
                <a:gd name="T31" fmla="*/ 0 h 131"/>
                <a:gd name="T32" fmla="*/ 1804103 w 55"/>
                <a:gd name="T33" fmla="*/ 12 h 131"/>
                <a:gd name="T34" fmla="*/ 1804103 w 55"/>
                <a:gd name="T35" fmla="*/ 30 h 13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5"/>
                <a:gd name="T55" fmla="*/ 0 h 131"/>
                <a:gd name="T56" fmla="*/ 55 w 55"/>
                <a:gd name="T57" fmla="*/ 131 h 13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5" h="131">
                  <a:moveTo>
                    <a:pt x="42" y="30"/>
                  </a:moveTo>
                  <a:lnTo>
                    <a:pt x="55" y="36"/>
                  </a:lnTo>
                  <a:lnTo>
                    <a:pt x="55" y="55"/>
                  </a:lnTo>
                  <a:lnTo>
                    <a:pt x="37" y="84"/>
                  </a:lnTo>
                  <a:lnTo>
                    <a:pt x="24" y="91"/>
                  </a:lnTo>
                  <a:lnTo>
                    <a:pt x="7" y="114"/>
                  </a:lnTo>
                  <a:lnTo>
                    <a:pt x="7" y="126"/>
                  </a:lnTo>
                  <a:lnTo>
                    <a:pt x="0" y="131"/>
                  </a:lnTo>
                  <a:lnTo>
                    <a:pt x="0" y="120"/>
                  </a:lnTo>
                  <a:lnTo>
                    <a:pt x="1" y="95"/>
                  </a:lnTo>
                  <a:lnTo>
                    <a:pt x="1" y="84"/>
                  </a:lnTo>
                  <a:lnTo>
                    <a:pt x="13" y="48"/>
                  </a:lnTo>
                  <a:lnTo>
                    <a:pt x="7" y="35"/>
                  </a:lnTo>
                  <a:lnTo>
                    <a:pt x="13" y="19"/>
                  </a:lnTo>
                  <a:lnTo>
                    <a:pt x="24" y="12"/>
                  </a:lnTo>
                  <a:lnTo>
                    <a:pt x="37" y="0"/>
                  </a:lnTo>
                  <a:lnTo>
                    <a:pt x="42" y="12"/>
                  </a:lnTo>
                  <a:lnTo>
                    <a:pt x="42" y="30"/>
                  </a:lnTo>
                  <a:close/>
                </a:path>
              </a:pathLst>
            </a:custGeom>
            <a:solidFill>
              <a:srgbClr val="CCFF66"/>
            </a:solidFill>
            <a:ln w="9525">
              <a:solidFill>
                <a:srgbClr val="E4FFC9"/>
              </a:solidFill>
              <a:round/>
              <a:headEnd/>
              <a:tailEnd/>
            </a:ln>
          </p:spPr>
          <p:txBody>
            <a:bodyPr/>
            <a:lstStyle/>
            <a:p>
              <a:endParaRPr lang="ja-JP" altLang="en-US" dirty="0">
                <a:solidFill>
                  <a:srgbClr val="000000"/>
                </a:solidFill>
                <a:latin typeface="メイリオ" pitchFamily="50" charset="-128"/>
                <a:ea typeface="メイリオ" pitchFamily="50" charset="-128"/>
              </a:endParaRPr>
            </a:p>
          </p:txBody>
        </p:sp>
      </p:grpSp>
      <p:sp>
        <p:nvSpPr>
          <p:cNvPr id="150" name="角丸四角形 149"/>
          <p:cNvSpPr/>
          <p:nvPr/>
        </p:nvSpPr>
        <p:spPr bwMode="auto">
          <a:xfrm>
            <a:off x="5697547" y="646844"/>
            <a:ext cx="4040572" cy="2520000"/>
          </a:xfrm>
          <a:prstGeom prst="roundRect">
            <a:avLst>
              <a:gd name="adj" fmla="val 8365"/>
            </a:avLst>
          </a:prstGeom>
          <a:solidFill>
            <a:schemeClr val="bg1">
              <a:alpha val="50000"/>
            </a:schemeClr>
          </a:solidFill>
          <a:ln w="38100">
            <a:solidFill>
              <a:srgbClr val="00B0F0"/>
            </a:solidFill>
            <a:prstDash val="solid"/>
            <a:round/>
            <a:headEnd/>
            <a:tailEnd/>
          </a:ln>
          <a:effectLst/>
        </p:spPr>
        <p:txBody>
          <a:bodyPr wrap="square" lIns="91422" tIns="45710" rIns="91422" bIns="45710" rtlCol="0" anchor="t" anchorCtr="0">
            <a:noAutofit/>
          </a:bodyPr>
          <a:lstStyle/>
          <a:p>
            <a:pPr marL="1338263" algn="ctr">
              <a:lnSpc>
                <a:spcPct val="130000"/>
              </a:lnSpc>
              <a:tabLst>
                <a:tab pos="3136900" algn="ctr"/>
              </a:tabLst>
            </a:pPr>
            <a:endParaRPr lang="ja-JP" altLang="en-US" sz="1200" dirty="0" smtClean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pic>
        <p:nvPicPr>
          <p:cNvPr id="113" name="図 1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661" y="804881"/>
            <a:ext cx="959352" cy="959352"/>
          </a:xfrm>
          <a:prstGeom prst="rect">
            <a:avLst/>
          </a:prstGeom>
        </p:spPr>
      </p:pic>
      <p:pic>
        <p:nvPicPr>
          <p:cNvPr id="114" name="Picture 4" descr="船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827" b="89017" l="6061" r="96104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4537658" y="1228625"/>
            <a:ext cx="1159889" cy="803000"/>
          </a:xfrm>
          <a:prstGeom prst="rect">
            <a:avLst/>
          </a:prstGeom>
          <a:noFill/>
        </p:spPr>
      </p:pic>
      <p:pic>
        <p:nvPicPr>
          <p:cNvPr id="128" name="Picture 49" descr="印刷用イラスト素材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871467" y="3238599"/>
            <a:ext cx="776501" cy="446119"/>
          </a:xfrm>
          <a:prstGeom prst="rect">
            <a:avLst/>
          </a:prstGeom>
          <a:noFill/>
        </p:spPr>
      </p:pic>
      <p:sp>
        <p:nvSpPr>
          <p:cNvPr id="129" name="右矢印 128"/>
          <p:cNvSpPr/>
          <p:nvPr/>
        </p:nvSpPr>
        <p:spPr bwMode="auto">
          <a:xfrm>
            <a:off x="4340340" y="2309175"/>
            <a:ext cx="1152903" cy="50400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38100">
            <a:noFill/>
            <a:prstDash val="sysDash"/>
            <a:round/>
            <a:headEnd/>
            <a:tailEnd/>
          </a:ln>
          <a:effectLst/>
        </p:spPr>
        <p:txBody>
          <a:bodyPr wrap="square" lIns="91422" tIns="45710" rIns="91422" bIns="45710" rtlCol="0" anchor="t" anchorCtr="0">
            <a:noAutofit/>
          </a:bodyPr>
          <a:lstStyle/>
          <a:p>
            <a:pPr marL="1338263" algn="ctr">
              <a:lnSpc>
                <a:spcPct val="130000"/>
              </a:lnSpc>
              <a:tabLst>
                <a:tab pos="3136900" algn="ctr"/>
              </a:tabLst>
            </a:pPr>
            <a:endParaRPr lang="ja-JP" altLang="en-US" sz="1200" dirty="0" smtClean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0" name="右矢印 129"/>
          <p:cNvSpPr/>
          <p:nvPr/>
        </p:nvSpPr>
        <p:spPr bwMode="auto">
          <a:xfrm rot="5400000">
            <a:off x="6028643" y="3424369"/>
            <a:ext cx="812754" cy="50400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38100">
            <a:noFill/>
            <a:prstDash val="sysDash"/>
            <a:round/>
            <a:headEnd/>
            <a:tailEnd/>
          </a:ln>
          <a:effectLst/>
        </p:spPr>
        <p:txBody>
          <a:bodyPr wrap="square" lIns="91422" tIns="45710" rIns="91422" bIns="45710" rtlCol="0" anchor="t" anchorCtr="0">
            <a:noAutofit/>
          </a:bodyPr>
          <a:lstStyle/>
          <a:p>
            <a:pPr marL="1338263" algn="ctr">
              <a:lnSpc>
                <a:spcPct val="130000"/>
              </a:lnSpc>
              <a:tabLst>
                <a:tab pos="3136900" algn="ctr"/>
              </a:tabLst>
            </a:pPr>
            <a:endParaRPr lang="ja-JP" altLang="en-US" sz="12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1" name="右矢印 130"/>
          <p:cNvSpPr/>
          <p:nvPr/>
        </p:nvSpPr>
        <p:spPr bwMode="auto">
          <a:xfrm flipH="1">
            <a:off x="4340340" y="4744426"/>
            <a:ext cx="1123506" cy="504000"/>
          </a:xfrm>
          <a:prstGeom prst="rightArrow">
            <a:avLst/>
          </a:prstGeom>
          <a:solidFill>
            <a:schemeClr val="bg1">
              <a:lumMod val="50000"/>
            </a:schemeClr>
          </a:solidFill>
          <a:ln w="38100">
            <a:noFill/>
            <a:prstDash val="sysDash"/>
            <a:round/>
            <a:headEnd/>
            <a:tailEnd/>
          </a:ln>
          <a:effectLst/>
        </p:spPr>
        <p:txBody>
          <a:bodyPr wrap="square" lIns="91422" tIns="45710" rIns="91422" bIns="45710" rtlCol="0" anchor="t" anchorCtr="0">
            <a:noAutofit/>
          </a:bodyPr>
          <a:lstStyle/>
          <a:p>
            <a:pPr marL="1338263" algn="ctr">
              <a:lnSpc>
                <a:spcPct val="130000"/>
              </a:lnSpc>
              <a:tabLst>
                <a:tab pos="3136900" algn="ctr"/>
              </a:tabLst>
            </a:pPr>
            <a:endParaRPr lang="ja-JP" altLang="en-US" sz="12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2" name="角丸四角形 131"/>
          <p:cNvSpPr/>
          <p:nvPr/>
        </p:nvSpPr>
        <p:spPr>
          <a:xfrm>
            <a:off x="4163977" y="653318"/>
            <a:ext cx="603380" cy="216000"/>
          </a:xfrm>
          <a:prstGeom prst="roundRect">
            <a:avLst/>
          </a:prstGeom>
          <a:noFill/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航空</a:t>
            </a:r>
            <a:endParaRPr lang="ja-JP" altLang="en-US" sz="14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3" name="角丸四角形 132"/>
          <p:cNvSpPr/>
          <p:nvPr/>
        </p:nvSpPr>
        <p:spPr>
          <a:xfrm>
            <a:off x="4165521" y="2022381"/>
            <a:ext cx="936000" cy="252000"/>
          </a:xfrm>
          <a:prstGeom prst="roundRect">
            <a:avLst/>
          </a:prstGeom>
          <a:noFill/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クルーズ</a:t>
            </a:r>
            <a:endParaRPr lang="ja-JP" altLang="en-US" sz="14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8" name="角丸四角形吹き出し 137"/>
          <p:cNvSpPr/>
          <p:nvPr/>
        </p:nvSpPr>
        <p:spPr bwMode="auto">
          <a:xfrm>
            <a:off x="7782861" y="3231445"/>
            <a:ext cx="864000" cy="288000"/>
          </a:xfrm>
          <a:prstGeom prst="wedgeRoundRectCallout">
            <a:avLst>
              <a:gd name="adj1" fmla="val -66074"/>
              <a:gd name="adj2" fmla="val -1877"/>
              <a:gd name="adj3" fmla="val 16667"/>
            </a:avLst>
          </a:prstGeom>
          <a:solidFill>
            <a:srgbClr val="C00000"/>
          </a:solidFill>
          <a:ln w="12700">
            <a:noFill/>
            <a:prstDash val="solid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22" tIns="45710" rIns="91422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160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国交省</a:t>
            </a:r>
          </a:p>
        </p:txBody>
      </p:sp>
      <p:sp>
        <p:nvSpPr>
          <p:cNvPr id="140" name="角丸四角形吹き出し 139"/>
          <p:cNvSpPr/>
          <p:nvPr/>
        </p:nvSpPr>
        <p:spPr bwMode="auto">
          <a:xfrm>
            <a:off x="4796948" y="637859"/>
            <a:ext cx="864000" cy="288000"/>
          </a:xfrm>
          <a:prstGeom prst="wedgeRoundRectCallout">
            <a:avLst>
              <a:gd name="adj1" fmla="val -37128"/>
              <a:gd name="adj2" fmla="val 85950"/>
              <a:gd name="adj3" fmla="val 16667"/>
            </a:avLst>
          </a:prstGeom>
          <a:solidFill>
            <a:srgbClr val="C00000"/>
          </a:solidFill>
          <a:ln w="12700">
            <a:noFill/>
            <a:prstDash val="solid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22" tIns="45710" rIns="91422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160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国交省</a:t>
            </a:r>
          </a:p>
        </p:txBody>
      </p:sp>
      <p:sp>
        <p:nvSpPr>
          <p:cNvPr id="142" name="角丸四角形 141"/>
          <p:cNvSpPr/>
          <p:nvPr/>
        </p:nvSpPr>
        <p:spPr>
          <a:xfrm>
            <a:off x="7977513" y="3573112"/>
            <a:ext cx="936000" cy="252000"/>
          </a:xfrm>
          <a:prstGeom prst="roundRect">
            <a:avLst/>
          </a:prstGeom>
          <a:noFill/>
          <a:ln w="12700">
            <a:solidFill>
              <a:schemeClr val="bg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ja-JP" altLang="en-US" sz="1400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二次交通</a:t>
            </a:r>
            <a:endParaRPr lang="ja-JP" altLang="en-US" sz="14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52" name="角丸四角形 151"/>
          <p:cNvSpPr/>
          <p:nvPr/>
        </p:nvSpPr>
        <p:spPr bwMode="auto">
          <a:xfrm>
            <a:off x="5686914" y="4204727"/>
            <a:ext cx="4040572" cy="2520000"/>
          </a:xfrm>
          <a:prstGeom prst="roundRect">
            <a:avLst>
              <a:gd name="adj" fmla="val 8365"/>
            </a:avLst>
          </a:prstGeom>
          <a:solidFill>
            <a:schemeClr val="bg1">
              <a:alpha val="50000"/>
            </a:schemeClr>
          </a:solidFill>
          <a:ln w="38100">
            <a:solidFill>
              <a:srgbClr val="00B050"/>
            </a:solidFill>
            <a:prstDash val="solid"/>
            <a:round/>
            <a:headEnd/>
            <a:tailEnd/>
          </a:ln>
          <a:effectLst/>
        </p:spPr>
        <p:txBody>
          <a:bodyPr wrap="square" lIns="91422" tIns="45710" rIns="91422" bIns="45710" rtlCol="0" anchor="t" anchorCtr="0">
            <a:noAutofit/>
          </a:bodyPr>
          <a:lstStyle/>
          <a:p>
            <a:pPr marL="1338263" algn="ctr">
              <a:lnSpc>
                <a:spcPct val="130000"/>
              </a:lnSpc>
              <a:tabLst>
                <a:tab pos="3136900" algn="ctr"/>
              </a:tabLst>
            </a:pPr>
            <a:endParaRPr lang="ja-JP" altLang="en-US" sz="1200" dirty="0" smtClean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46" name="テキスト ボックス 145"/>
          <p:cNvSpPr txBox="1"/>
          <p:nvPr/>
        </p:nvSpPr>
        <p:spPr>
          <a:xfrm>
            <a:off x="6888366" y="550447"/>
            <a:ext cx="1723549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ja-JP"/>
            </a:defPPr>
            <a:lvl1pPr>
              <a:defRPr sz="20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lang="ja-JP" altLang="en-US" b="1" dirty="0" smtClean="0">
                <a:solidFill>
                  <a:srgbClr val="000000"/>
                </a:solidFill>
              </a:rPr>
              <a:t>ビザ・ＣＩＱ</a:t>
            </a:r>
            <a:endParaRPr lang="ja-JP" altLang="en-US" b="1" dirty="0">
              <a:solidFill>
                <a:srgbClr val="000000"/>
              </a:solidFill>
            </a:endParaRPr>
          </a:p>
        </p:txBody>
      </p:sp>
      <p:sp>
        <p:nvSpPr>
          <p:cNvPr id="147" name="テキスト ボックス 146"/>
          <p:cNvSpPr txBox="1"/>
          <p:nvPr/>
        </p:nvSpPr>
        <p:spPr>
          <a:xfrm>
            <a:off x="6759234" y="4039467"/>
            <a:ext cx="1980029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ja-JP"/>
            </a:defPPr>
            <a:lvl1pPr>
              <a:defRPr sz="20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lang="ja-JP" altLang="en-US" b="1" dirty="0">
                <a:solidFill>
                  <a:srgbClr val="000000"/>
                </a:solidFill>
              </a:rPr>
              <a:t>観光地域づくり</a:t>
            </a:r>
          </a:p>
        </p:txBody>
      </p:sp>
      <p:sp>
        <p:nvSpPr>
          <p:cNvPr id="257" name="角丸四角形 256"/>
          <p:cNvSpPr/>
          <p:nvPr/>
        </p:nvSpPr>
        <p:spPr bwMode="auto">
          <a:xfrm>
            <a:off x="851724" y="551525"/>
            <a:ext cx="2517100" cy="442674"/>
          </a:xfrm>
          <a:prstGeom prst="round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ja-JP" altLang="en-US" sz="2000" b="1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訪日プロモーション</a:t>
            </a:r>
            <a:endParaRPr lang="ja-JP" altLang="en-US" sz="2000" b="1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34" name="角丸四角形吹き出し 133"/>
          <p:cNvSpPr/>
          <p:nvPr/>
        </p:nvSpPr>
        <p:spPr bwMode="auto">
          <a:xfrm>
            <a:off x="2060718" y="883221"/>
            <a:ext cx="1919689" cy="601563"/>
          </a:xfrm>
          <a:prstGeom prst="wedgeRoundRectCallout">
            <a:avLst>
              <a:gd name="adj1" fmla="val -8234"/>
              <a:gd name="adj2" fmla="val 89091"/>
              <a:gd name="adj3" fmla="val 16667"/>
            </a:avLst>
          </a:prstGeom>
          <a:solidFill>
            <a:srgbClr val="FF0000"/>
          </a:solidFill>
          <a:ln w="12700">
            <a:solidFill>
              <a:srgbClr val="FF0000"/>
            </a:solidFill>
            <a:prstDash val="solid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22" tIns="45710" rIns="91422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1600" dirty="0" smtClean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観光庁・外務省・</a:t>
            </a:r>
            <a:endParaRPr lang="en-US" altLang="ja-JP" sz="1600" dirty="0" smtClean="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1600" dirty="0" smtClean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経産省</a:t>
            </a:r>
            <a:r>
              <a:rPr lang="ja-JP" altLang="en-US" sz="160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・</a:t>
            </a:r>
            <a:r>
              <a:rPr lang="ja-JP" altLang="en-US" sz="1600" dirty="0" smtClean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農水省</a:t>
            </a:r>
            <a:r>
              <a:rPr lang="ja-JP" altLang="en-US" sz="1600" dirty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等</a:t>
            </a:r>
            <a:endParaRPr lang="en-US" altLang="ja-JP" sz="1600" dirty="0" smtClean="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pic>
        <p:nvPicPr>
          <p:cNvPr id="261" name="Picture 1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1" t="1476" r="-1" b="53282"/>
          <a:stretch/>
        </p:blipFill>
        <p:spPr bwMode="auto">
          <a:xfrm>
            <a:off x="7924503" y="1974694"/>
            <a:ext cx="1630895" cy="1118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226898" y="1637171"/>
            <a:ext cx="1127483" cy="846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62" name="テキスト ボックス 261"/>
          <p:cNvSpPr txBox="1"/>
          <p:nvPr/>
        </p:nvSpPr>
        <p:spPr>
          <a:xfrm>
            <a:off x="146354" y="950557"/>
            <a:ext cx="1898698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日本の魅力を</a:t>
            </a:r>
            <a:r>
              <a:rPr lang="en-US" altLang="ja-JP" sz="15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PR</a:t>
            </a:r>
            <a:r>
              <a:rPr lang="ja-JP" altLang="en-US" sz="1500" b="1" dirty="0" smtClean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し、外国人の日本への訪問を強く動機付ける</a:t>
            </a:r>
            <a:r>
              <a:rPr lang="ja-JP" altLang="en-US" sz="1500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べく、</a:t>
            </a:r>
            <a:endParaRPr lang="en-US" altLang="ja-JP" sz="1500" dirty="0" smtClean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r>
              <a:rPr lang="ja-JP" altLang="en-US" sz="1500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海外</a:t>
            </a:r>
            <a:r>
              <a:rPr lang="ja-JP" altLang="en-US" sz="1500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広告宣伝</a:t>
            </a:r>
            <a:r>
              <a:rPr lang="ja-JP" altLang="en-US" sz="1500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や海外メディア招請、旅行博出展などの訪日プロモーションを強力に実施</a:t>
            </a:r>
            <a:endParaRPr lang="en-US" altLang="ja-JP" sz="1500" dirty="0" smtClean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endParaRPr lang="ja-JP" altLang="en-US" sz="1500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264" name="テキスト ボックス 263"/>
          <p:cNvSpPr txBox="1"/>
          <p:nvPr/>
        </p:nvSpPr>
        <p:spPr>
          <a:xfrm>
            <a:off x="5776710" y="958214"/>
            <a:ext cx="1972539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sz="15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lang="ja-JP" altLang="en-US" b="1" dirty="0">
                <a:solidFill>
                  <a:srgbClr val="FF0000"/>
                </a:solidFill>
              </a:rPr>
              <a:t>外国人が日本を訪れやすい環境を整備</a:t>
            </a:r>
            <a:r>
              <a:rPr lang="ja-JP" altLang="en-US" dirty="0">
                <a:solidFill>
                  <a:srgbClr val="000000"/>
                </a:solidFill>
              </a:rPr>
              <a:t>するため、</a:t>
            </a:r>
            <a:endParaRPr lang="en-US" altLang="ja-JP" dirty="0">
              <a:solidFill>
                <a:srgbClr val="000000"/>
              </a:solidFill>
            </a:endParaRPr>
          </a:p>
          <a:p>
            <a:r>
              <a:rPr lang="ja-JP" altLang="en-US" dirty="0">
                <a:solidFill>
                  <a:srgbClr val="000000"/>
                </a:solidFill>
              </a:rPr>
              <a:t>ビザ要件の戦略的な緩和や、ＣＩＱ体制（税関・出入国管理・検疫）を整備</a:t>
            </a:r>
          </a:p>
        </p:txBody>
      </p:sp>
      <p:sp>
        <p:nvSpPr>
          <p:cNvPr id="136" name="角丸四角形吹き出し 135"/>
          <p:cNvSpPr/>
          <p:nvPr/>
        </p:nvSpPr>
        <p:spPr bwMode="auto">
          <a:xfrm>
            <a:off x="7762895" y="926438"/>
            <a:ext cx="1918169" cy="916013"/>
          </a:xfrm>
          <a:prstGeom prst="wedgeRoundRectCallout">
            <a:avLst>
              <a:gd name="adj1" fmla="val -6487"/>
              <a:gd name="adj2" fmla="val 77635"/>
              <a:gd name="adj3" fmla="val 16667"/>
            </a:avLst>
          </a:prstGeom>
          <a:solidFill>
            <a:srgbClr val="FF0000"/>
          </a:solidFill>
          <a:ln w="12700">
            <a:solidFill>
              <a:srgbClr val="FF0000"/>
            </a:solidFill>
            <a:prstDash val="solid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22" tIns="45710" rIns="91422" bIns="4571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1600" dirty="0" smtClean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国交省・法務省・</a:t>
            </a:r>
            <a:endParaRPr lang="en-US" altLang="ja-JP" sz="1600" dirty="0" smtClean="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1600" dirty="0" smtClean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外務省・農水省・厚労省・財務省</a:t>
            </a:r>
            <a:endParaRPr lang="ja-JP" altLang="en-US" sz="1600" dirty="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pic>
        <p:nvPicPr>
          <p:cNvPr id="7" name="図 6" descr="タイビザ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2720411" y="2257093"/>
            <a:ext cx="1163208" cy="83688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267" name="Picture 6" descr="https://scontent-a.xx.fbcdn.net/hphotos-frc1/t1.0-9/10271549_553347968112367_3671046877161553180_n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656943" y="5770311"/>
            <a:ext cx="1170022" cy="894511"/>
          </a:xfrm>
          <a:prstGeom prst="rect">
            <a:avLst/>
          </a:prstGeom>
          <a:noFill/>
        </p:spPr>
      </p:pic>
      <p:pic>
        <p:nvPicPr>
          <p:cNvPr id="266" name="Picture 60" descr="\\Kkcksgdt001\hd\観光資源課\予算・契約\平成２４年度補正予算\写真素材\世羅\ツアー内容\モニターツアー4.jpg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5797203" y="5416098"/>
            <a:ext cx="1208469" cy="845929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270" name="テキスト ボックス 269"/>
          <p:cNvSpPr txBox="1"/>
          <p:nvPr/>
        </p:nvSpPr>
        <p:spPr>
          <a:xfrm>
            <a:off x="7865412" y="4449870"/>
            <a:ext cx="181565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sz="15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lang="ja-JP" altLang="en-US" b="1" dirty="0">
                <a:solidFill>
                  <a:srgbClr val="FF0000"/>
                </a:solidFill>
              </a:rPr>
              <a:t>外国人旅行者を惹き付ける観光地づくりを進める</a:t>
            </a:r>
            <a:r>
              <a:rPr lang="ja-JP" altLang="en-US" dirty="0" smtClean="0">
                <a:solidFill>
                  <a:srgbClr val="000000"/>
                </a:solidFill>
              </a:rPr>
              <a:t>べく、</a:t>
            </a:r>
            <a:endParaRPr lang="en-US" altLang="ja-JP" dirty="0" smtClean="0">
              <a:solidFill>
                <a:srgbClr val="000000"/>
              </a:solidFill>
            </a:endParaRPr>
          </a:p>
          <a:p>
            <a:r>
              <a:rPr lang="ja-JP" altLang="en-US" dirty="0" smtClean="0">
                <a:solidFill>
                  <a:srgbClr val="000000"/>
                </a:solidFill>
              </a:rPr>
              <a:t>各地域</a:t>
            </a:r>
            <a:r>
              <a:rPr lang="ja-JP" altLang="en-US" dirty="0">
                <a:solidFill>
                  <a:srgbClr val="000000"/>
                </a:solidFill>
              </a:rPr>
              <a:t>の</a:t>
            </a:r>
            <a:r>
              <a:rPr lang="ja-JP" altLang="en-US" dirty="0" smtClean="0">
                <a:solidFill>
                  <a:srgbClr val="000000"/>
                </a:solidFill>
              </a:rPr>
              <a:t>広域的な連携を促進するとともに、地域の観光資源を発掘し、徹底的に磨き上げ</a:t>
            </a:r>
            <a:endParaRPr lang="ja-JP" altLang="en-US" dirty="0">
              <a:solidFill>
                <a:srgbClr val="000000"/>
              </a:solidFill>
            </a:endParaRPr>
          </a:p>
        </p:txBody>
      </p:sp>
      <p:sp>
        <p:nvSpPr>
          <p:cNvPr id="271" name="タイトル 1"/>
          <p:cNvSpPr txBox="1">
            <a:spLocks/>
          </p:cNvSpPr>
          <p:nvPr/>
        </p:nvSpPr>
        <p:spPr>
          <a:xfrm>
            <a:off x="0" y="-55850"/>
            <a:ext cx="8266113" cy="476250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kumimoji="1" sz="2800">
                <a:solidFill>
                  <a:schemeClr val="tx1"/>
                </a:solidFill>
                <a:latin typeface="HGP創英角ｺﾞｼｯｸUB" pitchFamily="50" charset="-128"/>
                <a:ea typeface="HGP創英角ｺﾞｼｯｸUB" pitchFamily="50" charset="-128"/>
              </a:defRPr>
            </a:lvl9pPr>
          </a:lstStyle>
          <a:p>
            <a:pPr>
              <a:defRPr/>
            </a:pPr>
            <a:r>
              <a:rPr lang="ja-JP" altLang="en-US" sz="2400" kern="0" dirty="0" smtClean="0">
                <a:solidFill>
                  <a:srgbClr val="000000"/>
                </a:solidFill>
              </a:rPr>
              <a:t>霞ヶ関全体</a:t>
            </a:r>
            <a:r>
              <a:rPr lang="ja-JP" altLang="en-US" sz="2400" kern="0" dirty="0">
                <a:solidFill>
                  <a:srgbClr val="000000"/>
                </a:solidFill>
              </a:rPr>
              <a:t>の</a:t>
            </a:r>
            <a:r>
              <a:rPr lang="ja-JP" altLang="en-US" sz="2400" kern="0" dirty="0" smtClean="0">
                <a:solidFill>
                  <a:srgbClr val="000000"/>
                </a:solidFill>
              </a:rPr>
              <a:t>観光先進国への取り組み（例）</a:t>
            </a:r>
          </a:p>
        </p:txBody>
      </p:sp>
      <p:sp>
        <p:nvSpPr>
          <p:cNvPr id="141" name="角丸四角形吹き出し 140"/>
          <p:cNvSpPr/>
          <p:nvPr/>
        </p:nvSpPr>
        <p:spPr bwMode="auto">
          <a:xfrm>
            <a:off x="5859511" y="4509120"/>
            <a:ext cx="1909538" cy="776073"/>
          </a:xfrm>
          <a:prstGeom prst="wedgeRoundRectCallout">
            <a:avLst>
              <a:gd name="adj1" fmla="val 7363"/>
              <a:gd name="adj2" fmla="val 82301"/>
              <a:gd name="adj3" fmla="val 16667"/>
            </a:avLst>
          </a:prstGeom>
          <a:solidFill>
            <a:srgbClr val="FF0000"/>
          </a:solidFill>
          <a:ln w="12700">
            <a:solidFill>
              <a:srgbClr val="FF0000"/>
            </a:solidFill>
            <a:prstDash val="solid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22" tIns="45710" rIns="91422" bIns="457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1600" dirty="0" smtClean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国交省・農水省・環境省・文化庁等</a:t>
            </a:r>
            <a:endParaRPr lang="ja-JP" altLang="en-US" sz="1600" dirty="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pic>
        <p:nvPicPr>
          <p:cNvPr id="272" name="Picture 35" descr="http://kids.wanpug.com/illust/illust3378.pn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4299927" y="5340841"/>
            <a:ext cx="1121702" cy="1052848"/>
          </a:xfrm>
          <a:prstGeom prst="rect">
            <a:avLst/>
          </a:prstGeom>
          <a:noFill/>
        </p:spPr>
      </p:pic>
      <p:sp>
        <p:nvSpPr>
          <p:cNvPr id="170" name="正方形/長方形 169"/>
          <p:cNvSpPr/>
          <p:nvPr/>
        </p:nvSpPr>
        <p:spPr bwMode="auto">
          <a:xfrm>
            <a:off x="2641061" y="3216072"/>
            <a:ext cx="808482" cy="446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ja-JP" altLang="en-US" sz="1600" b="1" dirty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発信</a:t>
            </a:r>
            <a:endParaRPr lang="en-US" altLang="ja-JP" sz="1600" b="1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74" name="正方形/長方形 173"/>
          <p:cNvSpPr/>
          <p:nvPr/>
        </p:nvSpPr>
        <p:spPr bwMode="auto">
          <a:xfrm>
            <a:off x="5461352" y="3135492"/>
            <a:ext cx="808482" cy="446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ja-JP" altLang="en-US" sz="1600" b="1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受入</a:t>
            </a:r>
            <a:endParaRPr lang="en-US" altLang="ja-JP" sz="1600" b="1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53" name="角丸四角形 152"/>
          <p:cNvSpPr/>
          <p:nvPr/>
        </p:nvSpPr>
        <p:spPr bwMode="auto">
          <a:xfrm>
            <a:off x="56456" y="4213616"/>
            <a:ext cx="4040572" cy="2527752"/>
          </a:xfrm>
          <a:prstGeom prst="roundRect">
            <a:avLst>
              <a:gd name="adj" fmla="val 8365"/>
            </a:avLst>
          </a:prstGeom>
          <a:solidFill>
            <a:schemeClr val="bg1">
              <a:alpha val="50000"/>
            </a:schemeClr>
          </a:solidFill>
          <a:ln w="38100">
            <a:solidFill>
              <a:srgbClr val="92D050">
                <a:alpha val="89000"/>
              </a:srgbClr>
            </a:solidFill>
            <a:prstDash val="solid"/>
            <a:round/>
            <a:headEnd/>
            <a:tailEnd/>
          </a:ln>
          <a:effectLst/>
        </p:spPr>
        <p:txBody>
          <a:bodyPr wrap="square" lIns="91422" tIns="45710" rIns="91422" bIns="45710" rtlCol="0" anchor="t" anchorCtr="0">
            <a:noAutofit/>
          </a:bodyPr>
          <a:lstStyle/>
          <a:p>
            <a:pPr marL="1338263" algn="ctr">
              <a:lnSpc>
                <a:spcPct val="130000"/>
              </a:lnSpc>
              <a:tabLst>
                <a:tab pos="3136900" algn="ctr"/>
              </a:tabLst>
            </a:pPr>
            <a:endParaRPr lang="ja-JP" altLang="en-US" sz="1200" dirty="0" smtClean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77" name="角丸四角形吹き出し 176"/>
          <p:cNvSpPr/>
          <p:nvPr/>
        </p:nvSpPr>
        <p:spPr bwMode="auto">
          <a:xfrm>
            <a:off x="143880" y="4481712"/>
            <a:ext cx="1900309" cy="764401"/>
          </a:xfrm>
          <a:prstGeom prst="wedgeRoundRectCallout">
            <a:avLst>
              <a:gd name="adj1" fmla="val 8577"/>
              <a:gd name="adj2" fmla="val 67190"/>
              <a:gd name="adj3" fmla="val 16667"/>
            </a:avLst>
          </a:prstGeom>
          <a:solidFill>
            <a:srgbClr val="FF0000"/>
          </a:solidFill>
          <a:ln w="12700">
            <a:solidFill>
              <a:srgbClr val="FF0000"/>
            </a:solidFill>
            <a:prstDash val="solid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22" tIns="45710" rIns="91422" bIns="457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1600" dirty="0" smtClean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国交省・総務省・経産省・文化庁等</a:t>
            </a:r>
            <a:endParaRPr lang="en-US" altLang="ja-JP" sz="1600" dirty="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>
              <a:lnSpc>
                <a:spcPct val="130000"/>
              </a:lnSpc>
              <a:tabLst>
                <a:tab pos="3136900" algn="ctr"/>
              </a:tabLst>
            </a:pPr>
            <a:endParaRPr lang="ja-JP" altLang="en-US" sz="1600" dirty="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78" name="テキスト ボックス 177"/>
          <p:cNvSpPr txBox="1"/>
          <p:nvPr/>
        </p:nvSpPr>
        <p:spPr>
          <a:xfrm>
            <a:off x="2072763" y="4595083"/>
            <a:ext cx="201614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ja-JP"/>
            </a:defPPr>
            <a:lvl1pPr>
              <a:defRPr sz="15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lang="ja-JP" altLang="en-US" b="1" dirty="0">
                <a:solidFill>
                  <a:srgbClr val="FF0000"/>
                </a:solidFill>
              </a:rPr>
              <a:t>訪日外国人旅行者が日本に滞在する際の不便や不安を解消</a:t>
            </a:r>
            <a:r>
              <a:rPr lang="ja-JP" altLang="en-US" dirty="0">
                <a:solidFill>
                  <a:srgbClr val="000000"/>
                </a:solidFill>
              </a:rPr>
              <a:t>すべく、</a:t>
            </a:r>
            <a:endParaRPr lang="en-US" altLang="ja-JP" dirty="0">
              <a:solidFill>
                <a:srgbClr val="000000"/>
              </a:solidFill>
            </a:endParaRPr>
          </a:p>
          <a:p>
            <a:r>
              <a:rPr lang="ja-JP" altLang="en-US" dirty="0">
                <a:solidFill>
                  <a:srgbClr val="000000"/>
                </a:solidFill>
              </a:rPr>
              <a:t>無料</a:t>
            </a:r>
            <a:r>
              <a:rPr lang="en-US" altLang="ja-JP" dirty="0" smtClean="0">
                <a:solidFill>
                  <a:srgbClr val="000000"/>
                </a:solidFill>
              </a:rPr>
              <a:t>Wi-Fi</a:t>
            </a:r>
            <a:r>
              <a:rPr lang="ja-JP" altLang="en-US" dirty="0" smtClean="0">
                <a:solidFill>
                  <a:srgbClr val="000000"/>
                </a:solidFill>
              </a:rPr>
              <a:t>環境の</a:t>
            </a:r>
            <a:r>
              <a:rPr lang="ja-JP" altLang="en-US" dirty="0">
                <a:solidFill>
                  <a:srgbClr val="000000"/>
                </a:solidFill>
              </a:rPr>
              <a:t>整備や多言語対応の強化、免税店の拡大</a:t>
            </a:r>
            <a:r>
              <a:rPr lang="ja-JP" altLang="en-US" dirty="0" smtClean="0">
                <a:solidFill>
                  <a:srgbClr val="000000"/>
                </a:solidFill>
              </a:rPr>
              <a:t>など、受入</a:t>
            </a:r>
            <a:r>
              <a:rPr lang="ja-JP" altLang="en-US" dirty="0">
                <a:solidFill>
                  <a:srgbClr val="000000"/>
                </a:solidFill>
              </a:rPr>
              <a:t>環境整備を実施</a:t>
            </a:r>
          </a:p>
        </p:txBody>
      </p:sp>
      <p:sp>
        <p:nvSpPr>
          <p:cNvPr id="148" name="テキスト ボックス 147"/>
          <p:cNvSpPr txBox="1"/>
          <p:nvPr/>
        </p:nvSpPr>
        <p:spPr>
          <a:xfrm>
            <a:off x="1167881" y="4033942"/>
            <a:ext cx="1723549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>
            <a:defPPr>
              <a:defRPr lang="ja-JP"/>
            </a:defPPr>
            <a:lvl1pPr>
              <a:defRPr sz="2000"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defRPr>
            </a:lvl1pPr>
          </a:lstStyle>
          <a:p>
            <a:r>
              <a:rPr lang="ja-JP" altLang="en-US" b="1" dirty="0">
                <a:solidFill>
                  <a:srgbClr val="000000"/>
                </a:solidFill>
              </a:rPr>
              <a:t>受入環境整備</a:t>
            </a:r>
          </a:p>
        </p:txBody>
      </p:sp>
      <p:sp>
        <p:nvSpPr>
          <p:cNvPr id="265" name="円/楕円 264"/>
          <p:cNvSpPr/>
          <p:nvPr/>
        </p:nvSpPr>
        <p:spPr bwMode="auto">
          <a:xfrm>
            <a:off x="3103426" y="3314137"/>
            <a:ext cx="3275713" cy="1308945"/>
          </a:xfrm>
          <a:prstGeom prst="ellipse">
            <a:avLst/>
          </a:prstGeom>
          <a:solidFill>
            <a:srgbClr val="FF9A00"/>
          </a:solidFill>
          <a:ln w="38100">
            <a:noFill/>
            <a:prstDash val="sysDash"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22" tIns="45710" rIns="91422" bIns="4571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2000" b="1" dirty="0" smtClean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政府一丸となった</a:t>
            </a:r>
            <a:endParaRPr lang="en-US" altLang="ja-JP" sz="2000" b="1" dirty="0" smtClean="0">
              <a:solidFill>
                <a:srgbClr val="FFFFFF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  <a:p>
            <a:pPr algn="ctr">
              <a:lnSpc>
                <a:spcPct val="130000"/>
              </a:lnSpc>
              <a:tabLst>
                <a:tab pos="3136900" algn="ctr"/>
              </a:tabLst>
            </a:pPr>
            <a:r>
              <a:rPr lang="ja-JP" altLang="en-US" sz="2000" b="1" dirty="0" smtClean="0">
                <a:solidFill>
                  <a:srgbClr val="FFFFFF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観光振興が必要</a:t>
            </a:r>
          </a:p>
        </p:txBody>
      </p:sp>
      <p:sp>
        <p:nvSpPr>
          <p:cNvPr id="173" name=" 3"/>
          <p:cNvSpPr/>
          <p:nvPr/>
        </p:nvSpPr>
        <p:spPr bwMode="auto">
          <a:xfrm rot="18168715" flipH="1">
            <a:off x="2912534" y="3780863"/>
            <a:ext cx="588140" cy="752033"/>
          </a:xfrm>
          <a:prstGeom prst="swooshArrow">
            <a:avLst>
              <a:gd name="adj1" fmla="val 31985"/>
              <a:gd name="adj2" fmla="val 46027"/>
            </a:avLst>
          </a:prstGeom>
          <a:solidFill>
            <a:srgbClr val="FF0000">
              <a:alpha val="81000"/>
            </a:srgb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1" name=" 3"/>
          <p:cNvSpPr/>
          <p:nvPr/>
        </p:nvSpPr>
        <p:spPr bwMode="auto">
          <a:xfrm rot="5400000">
            <a:off x="5339400" y="4409891"/>
            <a:ext cx="616747" cy="453858"/>
          </a:xfrm>
          <a:prstGeom prst="swooshArrow">
            <a:avLst>
              <a:gd name="adj1" fmla="val 30635"/>
              <a:gd name="adj2" fmla="val 65072"/>
            </a:avLst>
          </a:prstGeom>
          <a:solidFill>
            <a:srgbClr val="FF0000">
              <a:alpha val="81000"/>
            </a:srgb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2" name=" 3"/>
          <p:cNvSpPr/>
          <p:nvPr/>
        </p:nvSpPr>
        <p:spPr bwMode="auto">
          <a:xfrm rot="6426552">
            <a:off x="5543221" y="2944205"/>
            <a:ext cx="997420" cy="862217"/>
          </a:xfrm>
          <a:prstGeom prst="swooshArrow">
            <a:avLst>
              <a:gd name="adj1" fmla="val 19024"/>
              <a:gd name="adj2" fmla="val 37653"/>
            </a:avLst>
          </a:prstGeom>
          <a:solidFill>
            <a:srgbClr val="FF0000">
              <a:alpha val="81000"/>
            </a:srgb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6" name="正方形/長方形 175"/>
          <p:cNvSpPr/>
          <p:nvPr/>
        </p:nvSpPr>
        <p:spPr bwMode="auto">
          <a:xfrm>
            <a:off x="3064990" y="4103517"/>
            <a:ext cx="808482" cy="446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ja-JP" altLang="en-US" sz="1600" b="1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受入</a:t>
            </a:r>
            <a:endParaRPr lang="en-US" altLang="ja-JP" sz="1600" b="1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sp>
        <p:nvSpPr>
          <p:cNvPr id="175" name="正方形/長方形 174"/>
          <p:cNvSpPr/>
          <p:nvPr/>
        </p:nvSpPr>
        <p:spPr bwMode="auto">
          <a:xfrm>
            <a:off x="5446808" y="4153293"/>
            <a:ext cx="808482" cy="4463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ja-JP" altLang="en-US" sz="1600" b="1" dirty="0" smtClean="0">
                <a:solidFill>
                  <a:srgbClr val="00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メイリオ" panose="020B0604030504040204" pitchFamily="50" charset="-128"/>
              </a:rPr>
              <a:t>受入</a:t>
            </a:r>
            <a:endParaRPr lang="en-US" altLang="ja-JP" sz="1600" b="1" dirty="0">
              <a:solidFill>
                <a:srgbClr val="00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メイリオ" panose="020B0604030504040204" pitchFamily="50" charset="-128"/>
            </a:endParaRPr>
          </a:p>
        </p:txBody>
      </p:sp>
      <p:pic>
        <p:nvPicPr>
          <p:cNvPr id="124" name="Picture 2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20926" y="5431147"/>
            <a:ext cx="541890" cy="12151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3" name="Picture 11" descr="やまなしFreeWi-Fiマーク（漢字入）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984282" y="5949280"/>
            <a:ext cx="800785" cy="735930"/>
          </a:xfrm>
          <a:prstGeom prst="rect">
            <a:avLst/>
          </a:prstGeom>
          <a:noFill/>
        </p:spPr>
      </p:pic>
      <p:pic>
        <p:nvPicPr>
          <p:cNvPr id="268" name="図 267"/>
          <p:cNvPicPr preferRelativeResize="0">
            <a:picLocks noChangeAspect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929719" y="5445224"/>
            <a:ext cx="1002746" cy="388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" name=" 3"/>
          <p:cNvSpPr/>
          <p:nvPr/>
        </p:nvSpPr>
        <p:spPr bwMode="auto">
          <a:xfrm rot="15514580">
            <a:off x="1908302" y="2445130"/>
            <a:ext cx="1574483" cy="1465080"/>
          </a:xfrm>
          <a:prstGeom prst="swooshArrow">
            <a:avLst>
              <a:gd name="adj1" fmla="val 24075"/>
              <a:gd name="adj2" fmla="val 61011"/>
            </a:avLst>
          </a:prstGeom>
          <a:solidFill>
            <a:srgbClr val="0070C0">
              <a:alpha val="81000"/>
            </a:srgbClr>
          </a:solidFill>
          <a:ln>
            <a:noFill/>
          </a:ln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181" name="Picture 4" descr="C:\Users\Yuichiro Kisaka\AppData\Local\Microsoft\Windows\Temporary Internet Files\Low\Content.IE5\GZPIUVXN\MC900433945[1].PNG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558" y="3310740"/>
            <a:ext cx="619904" cy="6199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図 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155" y="3220979"/>
            <a:ext cx="674508" cy="674508"/>
          </a:xfrm>
          <a:prstGeom prst="rect">
            <a:avLst/>
          </a:prstGeom>
        </p:spPr>
      </p:pic>
      <p:sp>
        <p:nvSpPr>
          <p:cNvPr id="3" name="スライド番号プレースホルダー 2"/>
          <p:cNvSpPr>
            <a:spLocks noGrp="1"/>
          </p:cNvSpPr>
          <p:nvPr>
            <p:ph type="sldNum" sz="quarter" idx="12"/>
          </p:nvPr>
        </p:nvSpPr>
        <p:spPr>
          <a:xfrm>
            <a:off x="7583563" y="6542785"/>
            <a:ext cx="2311400" cy="476250"/>
          </a:xfrm>
        </p:spPr>
        <p:txBody>
          <a:bodyPr/>
          <a:lstStyle/>
          <a:p>
            <a:pPr>
              <a:defRPr/>
            </a:pPr>
            <a:fld id="{6A8F643B-1E2A-4F03-8182-047C0680F225}" type="slidenum">
              <a:rPr lang="en-US" altLang="ja-JP" smtClean="0">
                <a:solidFill>
                  <a:srgbClr val="000000"/>
                </a:solidFill>
              </a:rPr>
              <a:pPr>
                <a:defRPr/>
              </a:pPr>
              <a:t>3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1365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グループ化 7"/>
          <p:cNvGrpSpPr/>
          <p:nvPr/>
        </p:nvGrpSpPr>
        <p:grpSpPr>
          <a:xfrm>
            <a:off x="1404095" y="5439244"/>
            <a:ext cx="893762" cy="864000"/>
            <a:chOff x="1404095" y="5213960"/>
            <a:chExt cx="893762" cy="864000"/>
          </a:xfrm>
        </p:grpSpPr>
        <p:cxnSp>
          <p:nvCxnSpPr>
            <p:cNvPr id="85" name="直線コネクタ 78"/>
            <p:cNvCxnSpPr>
              <a:cxnSpLocks noChangeShapeType="1"/>
            </p:cNvCxnSpPr>
            <p:nvPr/>
          </p:nvCxnSpPr>
          <p:spPr bwMode="auto">
            <a:xfrm>
              <a:off x="1404095" y="5417393"/>
              <a:ext cx="893762" cy="0"/>
            </a:xfrm>
            <a:prstGeom prst="line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4" name="直線コネクタ 78"/>
            <p:cNvCxnSpPr>
              <a:cxnSpLocks noChangeShapeType="1"/>
            </p:cNvCxnSpPr>
            <p:nvPr/>
          </p:nvCxnSpPr>
          <p:spPr bwMode="auto">
            <a:xfrm>
              <a:off x="1404095" y="5741881"/>
              <a:ext cx="893762" cy="0"/>
            </a:xfrm>
            <a:prstGeom prst="line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95" name="直線コネクタ 78"/>
            <p:cNvCxnSpPr>
              <a:cxnSpLocks noChangeShapeType="1"/>
            </p:cNvCxnSpPr>
            <p:nvPr/>
          </p:nvCxnSpPr>
          <p:spPr bwMode="auto">
            <a:xfrm>
              <a:off x="1404095" y="6066370"/>
              <a:ext cx="893762" cy="0"/>
            </a:xfrm>
            <a:prstGeom prst="line">
              <a:avLst/>
            </a:prstGeom>
            <a:noFill/>
            <a:ln w="127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" name="直線コネクタ 5"/>
            <p:cNvCxnSpPr/>
            <p:nvPr/>
          </p:nvCxnSpPr>
          <p:spPr bwMode="auto">
            <a:xfrm flipH="1">
              <a:off x="1407521" y="5213960"/>
              <a:ext cx="381" cy="864000"/>
            </a:xfrm>
            <a:prstGeom prst="line">
              <a:avLst/>
            </a:prstGeom>
            <a:solidFill>
              <a:srgbClr val="0066CC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cxnSp>
        <p:nvCxnSpPr>
          <p:cNvPr id="74" name="直線コネクタ 78"/>
          <p:cNvCxnSpPr>
            <a:cxnSpLocks noChangeShapeType="1"/>
          </p:cNvCxnSpPr>
          <p:nvPr/>
        </p:nvCxnSpPr>
        <p:spPr bwMode="auto">
          <a:xfrm>
            <a:off x="265615" y="4063918"/>
            <a:ext cx="893762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69" name="直線コネクタ 73"/>
          <p:cNvCxnSpPr>
            <a:cxnSpLocks noChangeShapeType="1"/>
          </p:cNvCxnSpPr>
          <p:nvPr/>
        </p:nvCxnSpPr>
        <p:spPr bwMode="auto">
          <a:xfrm>
            <a:off x="251967" y="2744101"/>
            <a:ext cx="871537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7" name="テキスト ボックス 51"/>
          <p:cNvSpPr txBox="1">
            <a:spLocks noChangeArrowheads="1"/>
          </p:cNvSpPr>
          <p:nvPr/>
        </p:nvSpPr>
        <p:spPr bwMode="auto">
          <a:xfrm>
            <a:off x="3100139" y="2248685"/>
            <a:ext cx="6219122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lnSpc>
                <a:spcPts val="1300"/>
              </a:lnSpc>
              <a:buFontTx/>
              <a:buNone/>
            </a:pPr>
            <a:r>
              <a:rPr lang="ja-JP" altLang="en-US" sz="1200" dirty="0">
                <a:solidFill>
                  <a:srgbClr val="000000"/>
                </a:solidFill>
              </a:rPr>
              <a:t>・・</a:t>
            </a:r>
            <a:r>
              <a:rPr lang="ja-JP" altLang="en-US" sz="1200" dirty="0" smtClean="0">
                <a:solidFill>
                  <a:srgbClr val="000000"/>
                </a:solidFill>
              </a:rPr>
              <a:t>・観光に関する基本的な政策</a:t>
            </a:r>
            <a:r>
              <a:rPr lang="ja-JP" altLang="en-US" sz="1200" dirty="0" smtClean="0">
                <a:solidFill>
                  <a:prstClr val="black"/>
                </a:solidFill>
              </a:rPr>
              <a:t>の企画・立案、観光統計・経済分析、観光白書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157698" name="タイトル 1"/>
          <p:cNvSpPr>
            <a:spLocks noGrp="1"/>
          </p:cNvSpPr>
          <p:nvPr>
            <p:ph type="title"/>
          </p:nvPr>
        </p:nvSpPr>
        <p:spPr>
          <a:xfrm>
            <a:off x="0" y="-42863"/>
            <a:ext cx="8266113" cy="476251"/>
          </a:xfrm>
        </p:spPr>
        <p:txBody>
          <a:bodyPr/>
          <a:lstStyle/>
          <a:p>
            <a:r>
              <a:rPr lang="ja-JP" altLang="en-US" sz="2400" dirty="0" smtClean="0"/>
              <a:t>観光庁の概要（平成３０年１０月１日現在）</a:t>
            </a:r>
          </a:p>
        </p:txBody>
      </p:sp>
      <p:sp>
        <p:nvSpPr>
          <p:cNvPr id="71" name="AutoShape 41"/>
          <p:cNvSpPr>
            <a:spLocks noChangeArrowheads="1"/>
          </p:cNvSpPr>
          <p:nvPr/>
        </p:nvSpPr>
        <p:spPr bwMode="auto">
          <a:xfrm>
            <a:off x="8691030" y="1155631"/>
            <a:ext cx="1125537" cy="239713"/>
          </a:xfrm>
          <a:prstGeom prst="flowChartProcess">
            <a:avLst/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/>
          <a:p>
            <a:pPr algn="ctr">
              <a:defRPr/>
            </a:pPr>
            <a:r>
              <a:rPr lang="ja-JP" altLang="en-US" sz="1050" dirty="0">
                <a:solidFill>
                  <a:prstClr val="black"/>
                </a:solidFill>
              </a:rPr>
              <a:t>国際観光課</a:t>
            </a:r>
          </a:p>
        </p:txBody>
      </p:sp>
      <p:cxnSp>
        <p:nvCxnSpPr>
          <p:cNvPr id="72" name="直線コネクタ 57"/>
          <p:cNvCxnSpPr>
            <a:cxnSpLocks noChangeShapeType="1"/>
            <a:stCxn id="82" idx="3"/>
          </p:cNvCxnSpPr>
          <p:nvPr/>
        </p:nvCxnSpPr>
        <p:spPr bwMode="auto">
          <a:xfrm flipV="1">
            <a:off x="8215606" y="984181"/>
            <a:ext cx="64800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3" name="直線コネクタ 60"/>
          <p:cNvCxnSpPr>
            <a:cxnSpLocks noChangeShapeType="1"/>
          </p:cNvCxnSpPr>
          <p:nvPr/>
        </p:nvCxnSpPr>
        <p:spPr bwMode="auto">
          <a:xfrm>
            <a:off x="8422742" y="993706"/>
            <a:ext cx="1588" cy="601663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5" name="直線コネクタ 63"/>
          <p:cNvCxnSpPr>
            <a:cxnSpLocks noChangeShapeType="1"/>
          </p:cNvCxnSpPr>
          <p:nvPr/>
        </p:nvCxnSpPr>
        <p:spPr bwMode="auto">
          <a:xfrm>
            <a:off x="8416392" y="1595369"/>
            <a:ext cx="271463" cy="15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76" name="AutoShape 41"/>
          <p:cNvSpPr>
            <a:spLocks noChangeArrowheads="1"/>
          </p:cNvSpPr>
          <p:nvPr/>
        </p:nvSpPr>
        <p:spPr bwMode="auto">
          <a:xfrm>
            <a:off x="6663031" y="1255644"/>
            <a:ext cx="1549400" cy="282575"/>
          </a:xfrm>
          <a:prstGeom prst="flowChartProcess">
            <a:avLst/>
          </a:prstGeom>
          <a:noFill/>
          <a:ln w="28575" cmpd="dbl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/>
          <a:p>
            <a:pPr algn="ctr">
              <a:defRPr/>
            </a:pPr>
            <a:r>
              <a:rPr lang="ja-JP" altLang="en-US" sz="1050" dirty="0">
                <a:solidFill>
                  <a:prstClr val="black"/>
                </a:solidFill>
              </a:rPr>
              <a:t>ＪＮＴＯ（日本政府観光局）</a:t>
            </a:r>
          </a:p>
        </p:txBody>
      </p:sp>
      <p:cxnSp>
        <p:nvCxnSpPr>
          <p:cNvPr id="77" name="直線コネクタ 61"/>
          <p:cNvCxnSpPr>
            <a:cxnSpLocks noChangeShapeType="1"/>
          </p:cNvCxnSpPr>
          <p:nvPr/>
        </p:nvCxnSpPr>
        <p:spPr bwMode="auto">
          <a:xfrm flipV="1">
            <a:off x="2009721" y="1203166"/>
            <a:ext cx="4500000" cy="1587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8" name="直線コネクタ 64"/>
          <p:cNvCxnSpPr>
            <a:cxnSpLocks noChangeShapeType="1"/>
          </p:cNvCxnSpPr>
          <p:nvPr/>
        </p:nvCxnSpPr>
        <p:spPr bwMode="auto">
          <a:xfrm>
            <a:off x="6488406" y="987356"/>
            <a:ext cx="0" cy="428625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79" name="直線コネクタ 66"/>
          <p:cNvCxnSpPr>
            <a:cxnSpLocks noChangeShapeType="1"/>
          </p:cNvCxnSpPr>
          <p:nvPr/>
        </p:nvCxnSpPr>
        <p:spPr bwMode="auto">
          <a:xfrm flipV="1">
            <a:off x="6483643" y="1411219"/>
            <a:ext cx="179388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80" name="直線コネクタ 79"/>
          <p:cNvCxnSpPr>
            <a:cxnSpLocks noChangeShapeType="1"/>
          </p:cNvCxnSpPr>
          <p:nvPr/>
        </p:nvCxnSpPr>
        <p:spPr bwMode="auto">
          <a:xfrm flipV="1">
            <a:off x="6485231" y="987356"/>
            <a:ext cx="179387" cy="1588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2" name="AutoShape 41"/>
          <p:cNvSpPr>
            <a:spLocks noChangeArrowheads="1"/>
          </p:cNvSpPr>
          <p:nvPr/>
        </p:nvSpPr>
        <p:spPr bwMode="auto">
          <a:xfrm>
            <a:off x="6666206" y="842894"/>
            <a:ext cx="1549400" cy="282575"/>
          </a:xfrm>
          <a:prstGeom prst="flowChartProcess">
            <a:avLst/>
          </a:prstGeom>
          <a:noFill/>
          <a:ln w="28575" cmpd="dbl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/>
          <a:p>
            <a:pPr algn="ctr">
              <a:defRPr/>
            </a:pPr>
            <a:r>
              <a:rPr lang="ja-JP" altLang="en-US" sz="1050" dirty="0">
                <a:solidFill>
                  <a:srgbClr val="000000"/>
                </a:solidFill>
              </a:rPr>
              <a:t>地方運輸局観光部</a:t>
            </a:r>
          </a:p>
        </p:txBody>
      </p:sp>
      <p:sp>
        <p:nvSpPr>
          <p:cNvPr id="83" name="AutoShape 41"/>
          <p:cNvSpPr>
            <a:spLocks noChangeArrowheads="1"/>
          </p:cNvSpPr>
          <p:nvPr/>
        </p:nvSpPr>
        <p:spPr bwMode="auto">
          <a:xfrm>
            <a:off x="8675155" y="1474719"/>
            <a:ext cx="1125537" cy="238125"/>
          </a:xfrm>
          <a:prstGeom prst="flowChartProcess">
            <a:avLst/>
          </a:prstGeom>
          <a:noFill/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/>
          <a:p>
            <a:pPr algn="ctr">
              <a:defRPr/>
            </a:pPr>
            <a:r>
              <a:rPr lang="ja-JP" altLang="en-US" sz="1050" dirty="0">
                <a:solidFill>
                  <a:prstClr val="black"/>
                </a:solidFill>
              </a:rPr>
              <a:t>観光地域振興課</a:t>
            </a:r>
          </a:p>
        </p:txBody>
      </p:sp>
      <p:cxnSp>
        <p:nvCxnSpPr>
          <p:cNvPr id="84" name="直線コネクタ 52"/>
          <p:cNvCxnSpPr>
            <a:cxnSpLocks noChangeShapeType="1"/>
          </p:cNvCxnSpPr>
          <p:nvPr/>
        </p:nvCxnSpPr>
        <p:spPr bwMode="auto">
          <a:xfrm>
            <a:off x="8410042" y="1303269"/>
            <a:ext cx="261938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7" name="テキスト ボックス 51"/>
          <p:cNvSpPr txBox="1">
            <a:spLocks noChangeArrowheads="1"/>
          </p:cNvSpPr>
          <p:nvPr/>
        </p:nvSpPr>
        <p:spPr bwMode="auto">
          <a:xfrm>
            <a:off x="1759084" y="1606707"/>
            <a:ext cx="57912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 smtClean="0">
                <a:solidFill>
                  <a:prstClr val="black"/>
                </a:solidFill>
              </a:rPr>
              <a:t>（長官</a:t>
            </a:r>
            <a:r>
              <a:rPr lang="ja-JP" altLang="en-US" sz="1200" dirty="0">
                <a:solidFill>
                  <a:prstClr val="black"/>
                </a:solidFill>
              </a:rPr>
              <a:t>の</a:t>
            </a:r>
            <a:r>
              <a:rPr lang="ja-JP" altLang="en-US" sz="1200" dirty="0" smtClean="0">
                <a:solidFill>
                  <a:prstClr val="black"/>
                </a:solidFill>
              </a:rPr>
              <a:t>代行、庁内事務の総括）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90" name="テキスト ボックス 51"/>
          <p:cNvSpPr txBox="1">
            <a:spLocks noChangeArrowheads="1"/>
          </p:cNvSpPr>
          <p:nvPr/>
        </p:nvSpPr>
        <p:spPr bwMode="auto">
          <a:xfrm>
            <a:off x="3100139" y="1970804"/>
            <a:ext cx="57927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・機密、</a:t>
            </a:r>
            <a:r>
              <a:rPr lang="ja-JP" altLang="en-US" sz="1200" dirty="0" smtClean="0">
                <a:solidFill>
                  <a:prstClr val="black"/>
                </a:solidFill>
              </a:rPr>
              <a:t>人事、定員</a:t>
            </a:r>
            <a:r>
              <a:rPr lang="ja-JP" altLang="en-US" sz="1200" dirty="0">
                <a:solidFill>
                  <a:prstClr val="black"/>
                </a:solidFill>
              </a:rPr>
              <a:t>、</a:t>
            </a:r>
            <a:r>
              <a:rPr lang="ja-JP" altLang="en-US" sz="1200" dirty="0" smtClean="0">
                <a:solidFill>
                  <a:prstClr val="black"/>
                </a:solidFill>
              </a:rPr>
              <a:t>予算</a:t>
            </a:r>
            <a:r>
              <a:rPr lang="ja-JP" altLang="en-US" sz="1200" dirty="0">
                <a:solidFill>
                  <a:prstClr val="black"/>
                </a:solidFill>
              </a:rPr>
              <a:t>、文書</a:t>
            </a:r>
            <a:r>
              <a:rPr lang="ja-JP" altLang="en-US" sz="1200" dirty="0" smtClean="0">
                <a:solidFill>
                  <a:prstClr val="black"/>
                </a:solidFill>
              </a:rPr>
              <a:t>管理、国会対応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cxnSp>
        <p:nvCxnSpPr>
          <p:cNvPr id="91" name="直線コネクタ 73"/>
          <p:cNvCxnSpPr>
            <a:cxnSpLocks noChangeShapeType="1"/>
          </p:cNvCxnSpPr>
          <p:nvPr/>
        </p:nvCxnSpPr>
        <p:spPr bwMode="auto">
          <a:xfrm>
            <a:off x="268211" y="2096217"/>
            <a:ext cx="871537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2" name="直線コネクタ 78"/>
          <p:cNvCxnSpPr>
            <a:cxnSpLocks noChangeShapeType="1"/>
          </p:cNvCxnSpPr>
          <p:nvPr/>
        </p:nvCxnSpPr>
        <p:spPr bwMode="auto">
          <a:xfrm>
            <a:off x="259017" y="2366092"/>
            <a:ext cx="893762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8" name="AutoShape 17"/>
          <p:cNvSpPr>
            <a:spLocks noChangeArrowheads="1"/>
          </p:cNvSpPr>
          <p:nvPr/>
        </p:nvSpPr>
        <p:spPr bwMode="auto">
          <a:xfrm>
            <a:off x="1139131" y="1988267"/>
            <a:ext cx="1944688" cy="217487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>
                <a:solidFill>
                  <a:prstClr val="black"/>
                </a:solidFill>
                <a:latin typeface="ＭＳ Ｐゴシック" panose="020B0600070205080204" pitchFamily="50" charset="-128"/>
              </a:rPr>
              <a:t>総　務　課</a:t>
            </a:r>
          </a:p>
        </p:txBody>
      </p:sp>
      <p:sp>
        <p:nvSpPr>
          <p:cNvPr id="99" name="テキスト ボックス 51"/>
          <p:cNvSpPr txBox="1">
            <a:spLocks noChangeArrowheads="1"/>
          </p:cNvSpPr>
          <p:nvPr/>
        </p:nvSpPr>
        <p:spPr bwMode="auto">
          <a:xfrm>
            <a:off x="2190453" y="2597449"/>
            <a:ext cx="650619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 smtClean="0">
                <a:solidFill>
                  <a:prstClr val="black"/>
                </a:solidFill>
              </a:rPr>
              <a:t>（観光産業課、参事官（旅行振興担当）及び参事官（観光人材政策担当）の業務に関すること）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101" name="テキスト ボックス 51"/>
          <p:cNvSpPr txBox="1">
            <a:spLocks noChangeArrowheads="1"/>
          </p:cNvSpPr>
          <p:nvPr/>
        </p:nvSpPr>
        <p:spPr bwMode="auto">
          <a:xfrm>
            <a:off x="3093088" y="2911327"/>
            <a:ext cx="670760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</a:t>
            </a:r>
            <a:r>
              <a:rPr lang="ja-JP" altLang="en-US" sz="1200" dirty="0" smtClean="0">
                <a:solidFill>
                  <a:prstClr val="black"/>
                </a:solidFill>
              </a:rPr>
              <a:t>・観光産業の発達・改善の全体統括、宿泊業、住宅宿泊事業（民泊）、観光ファンド（</a:t>
            </a:r>
            <a:r>
              <a:rPr lang="en-US" altLang="ja-JP" sz="1200" dirty="0" smtClean="0">
                <a:solidFill>
                  <a:prstClr val="black"/>
                </a:solidFill>
              </a:rPr>
              <a:t>REVIC</a:t>
            </a:r>
            <a:r>
              <a:rPr lang="ja-JP" altLang="en-US" sz="1200" dirty="0" smtClean="0">
                <a:solidFill>
                  <a:prstClr val="black"/>
                </a:solidFill>
              </a:rPr>
              <a:t>等）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cxnSp>
        <p:nvCxnSpPr>
          <p:cNvPr id="102" name="直線コネクタ 73"/>
          <p:cNvCxnSpPr>
            <a:cxnSpLocks noChangeShapeType="1"/>
          </p:cNvCxnSpPr>
          <p:nvPr/>
        </p:nvCxnSpPr>
        <p:spPr bwMode="auto">
          <a:xfrm>
            <a:off x="261161" y="3041281"/>
            <a:ext cx="871537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03" name="直線コネクタ 78"/>
          <p:cNvCxnSpPr>
            <a:cxnSpLocks noChangeShapeType="1"/>
          </p:cNvCxnSpPr>
          <p:nvPr/>
        </p:nvCxnSpPr>
        <p:spPr bwMode="auto">
          <a:xfrm>
            <a:off x="251967" y="3378118"/>
            <a:ext cx="893762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4" name="AutoShape 17"/>
          <p:cNvSpPr>
            <a:spLocks noChangeArrowheads="1"/>
          </p:cNvSpPr>
          <p:nvPr/>
        </p:nvSpPr>
        <p:spPr bwMode="auto">
          <a:xfrm>
            <a:off x="1132081" y="2933331"/>
            <a:ext cx="1944688" cy="217487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>
                <a:solidFill>
                  <a:prstClr val="black"/>
                </a:solidFill>
                <a:latin typeface="ＭＳ Ｐゴシック" panose="020B0600070205080204" pitchFamily="50" charset="-128"/>
              </a:rPr>
              <a:t>観光産業課</a:t>
            </a:r>
          </a:p>
        </p:txBody>
      </p:sp>
      <p:sp>
        <p:nvSpPr>
          <p:cNvPr id="105" name="テキスト ボックス 51"/>
          <p:cNvSpPr txBox="1">
            <a:spLocks noChangeArrowheads="1"/>
          </p:cNvSpPr>
          <p:nvPr/>
        </p:nvSpPr>
        <p:spPr bwMode="auto">
          <a:xfrm>
            <a:off x="3079440" y="3193749"/>
            <a:ext cx="7769535" cy="437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marL="216000" indent="-216000">
              <a:lnSpc>
                <a:spcPts val="1200"/>
              </a:lnSpc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</a:t>
            </a:r>
            <a:r>
              <a:rPr lang="ja-JP" altLang="en-US" sz="1200" dirty="0" smtClean="0">
                <a:solidFill>
                  <a:prstClr val="black"/>
                </a:solidFill>
              </a:rPr>
              <a:t>・旅行業、ランドオペレーター、旅行振興業務（アウトバウンド促進協議会、若者旅行・国内旅行振興等）、</a:t>
            </a:r>
            <a:endParaRPr lang="en-US" altLang="ja-JP" sz="1200" dirty="0" smtClean="0">
              <a:solidFill>
                <a:prstClr val="black"/>
              </a:solidFill>
            </a:endParaRPr>
          </a:p>
          <a:p>
            <a:pPr marL="216000" indent="-216000">
              <a:lnSpc>
                <a:spcPts val="1200"/>
              </a:lnSpc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　</a:t>
            </a:r>
            <a:r>
              <a:rPr lang="ja-JP" altLang="en-US" sz="1200" dirty="0" smtClean="0">
                <a:solidFill>
                  <a:prstClr val="black"/>
                </a:solidFill>
              </a:rPr>
              <a:t>　 </a:t>
            </a:r>
            <a:r>
              <a:rPr lang="en-US" altLang="ja-JP" sz="1200" dirty="0" smtClean="0">
                <a:solidFill>
                  <a:prstClr val="black"/>
                </a:solidFill>
              </a:rPr>
              <a:t>OTA</a:t>
            </a:r>
            <a:r>
              <a:rPr lang="ja-JP" altLang="en-US" sz="1200" dirty="0" smtClean="0">
                <a:solidFill>
                  <a:prstClr val="black"/>
                </a:solidFill>
              </a:rPr>
              <a:t>・プラットフォーマー、新技術対応、休暇改革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107" name="テキスト ボックス 51"/>
          <p:cNvSpPr txBox="1">
            <a:spLocks noChangeArrowheads="1"/>
          </p:cNvSpPr>
          <p:nvPr/>
        </p:nvSpPr>
        <p:spPr bwMode="auto">
          <a:xfrm>
            <a:off x="2190453" y="3913353"/>
            <a:ext cx="57912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 smtClean="0">
                <a:solidFill>
                  <a:prstClr val="black"/>
                </a:solidFill>
              </a:rPr>
              <a:t>（国際観光課、参事官（</a:t>
            </a:r>
            <a:r>
              <a:rPr lang="en-US" altLang="ja-JP" sz="1200" dirty="0" smtClean="0">
                <a:solidFill>
                  <a:prstClr val="black"/>
                </a:solidFill>
              </a:rPr>
              <a:t>MICE</a:t>
            </a:r>
            <a:r>
              <a:rPr lang="ja-JP" altLang="en-US" sz="1200" dirty="0" smtClean="0">
                <a:solidFill>
                  <a:prstClr val="black"/>
                </a:solidFill>
              </a:rPr>
              <a:t>担当）及び参事官（国際関係担当）の業務に関すること）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109" name="テキスト ボックス 51"/>
          <p:cNvSpPr txBox="1">
            <a:spLocks noChangeArrowheads="1"/>
          </p:cNvSpPr>
          <p:nvPr/>
        </p:nvSpPr>
        <p:spPr bwMode="auto">
          <a:xfrm>
            <a:off x="3093089" y="4210588"/>
            <a:ext cx="57927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</a:t>
            </a:r>
            <a:r>
              <a:rPr lang="ja-JP" altLang="en-US" sz="1200" dirty="0" smtClean="0">
                <a:solidFill>
                  <a:prstClr val="black"/>
                </a:solidFill>
              </a:rPr>
              <a:t>・</a:t>
            </a:r>
            <a:r>
              <a:rPr lang="en-US" altLang="ja-JP" sz="1200" dirty="0" smtClean="0">
                <a:solidFill>
                  <a:prstClr val="black"/>
                </a:solidFill>
              </a:rPr>
              <a:t>JNTO</a:t>
            </a:r>
            <a:r>
              <a:rPr lang="ja-JP" altLang="en-US" sz="1200" dirty="0" smtClean="0">
                <a:solidFill>
                  <a:prstClr val="black"/>
                </a:solidFill>
              </a:rPr>
              <a:t>の機能強化・地方との連携強化、訪日プロモーション統括、</a:t>
            </a:r>
            <a:r>
              <a:rPr lang="en-US" altLang="ja-JP" sz="1200" dirty="0" smtClean="0">
                <a:solidFill>
                  <a:prstClr val="black"/>
                </a:solidFill>
              </a:rPr>
              <a:t>IR</a:t>
            </a:r>
            <a:r>
              <a:rPr lang="ja-JP" altLang="en-US" sz="1200" dirty="0" smtClean="0">
                <a:solidFill>
                  <a:prstClr val="black"/>
                </a:solidFill>
              </a:rPr>
              <a:t>整備の推進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cxnSp>
        <p:nvCxnSpPr>
          <p:cNvPr id="110" name="直線コネクタ 73"/>
          <p:cNvCxnSpPr>
            <a:cxnSpLocks noChangeShapeType="1"/>
          </p:cNvCxnSpPr>
          <p:nvPr/>
        </p:nvCxnSpPr>
        <p:spPr bwMode="auto">
          <a:xfrm>
            <a:off x="261161" y="4336001"/>
            <a:ext cx="871537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11" name="直線コネクタ 78"/>
          <p:cNvCxnSpPr>
            <a:cxnSpLocks noChangeShapeType="1"/>
          </p:cNvCxnSpPr>
          <p:nvPr/>
        </p:nvCxnSpPr>
        <p:spPr bwMode="auto">
          <a:xfrm>
            <a:off x="251967" y="4637311"/>
            <a:ext cx="893762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2" name="AutoShape 17"/>
          <p:cNvSpPr>
            <a:spLocks noChangeArrowheads="1"/>
          </p:cNvSpPr>
          <p:nvPr/>
        </p:nvSpPr>
        <p:spPr bwMode="auto">
          <a:xfrm>
            <a:off x="1132081" y="4228051"/>
            <a:ext cx="1944688" cy="217487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>
                <a:solidFill>
                  <a:prstClr val="black"/>
                </a:solidFill>
                <a:latin typeface="ＭＳ Ｐゴシック" panose="020B0600070205080204" pitchFamily="50" charset="-128"/>
              </a:rPr>
              <a:t>国際観光課</a:t>
            </a:r>
          </a:p>
        </p:txBody>
      </p:sp>
      <p:sp>
        <p:nvSpPr>
          <p:cNvPr id="113" name="テキスト ボックス 51"/>
          <p:cNvSpPr txBox="1">
            <a:spLocks noChangeArrowheads="1"/>
          </p:cNvSpPr>
          <p:nvPr/>
        </p:nvSpPr>
        <p:spPr bwMode="auto">
          <a:xfrm>
            <a:off x="3093088" y="4515901"/>
            <a:ext cx="629310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</a:t>
            </a:r>
            <a:r>
              <a:rPr lang="ja-JP" altLang="en-US" sz="1200" dirty="0" smtClean="0">
                <a:solidFill>
                  <a:prstClr val="black"/>
                </a:solidFill>
              </a:rPr>
              <a:t>・政府内・官民横断体制の構築、コンベンションビューロー改革、ユニークベニュー等の活用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cxnSp>
        <p:nvCxnSpPr>
          <p:cNvPr id="115" name="直線コネクタ 78"/>
          <p:cNvCxnSpPr>
            <a:cxnSpLocks noChangeShapeType="1"/>
          </p:cNvCxnSpPr>
          <p:nvPr/>
        </p:nvCxnSpPr>
        <p:spPr bwMode="auto">
          <a:xfrm>
            <a:off x="265615" y="4938620"/>
            <a:ext cx="893762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6" name="テキスト ボックス 51"/>
          <p:cNvSpPr txBox="1">
            <a:spLocks noChangeArrowheads="1"/>
          </p:cNvSpPr>
          <p:nvPr/>
        </p:nvSpPr>
        <p:spPr bwMode="auto">
          <a:xfrm>
            <a:off x="3106737" y="4821213"/>
            <a:ext cx="57927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</a:t>
            </a:r>
            <a:r>
              <a:rPr lang="ja-JP" altLang="en-US" sz="1200" dirty="0" smtClean="0">
                <a:solidFill>
                  <a:prstClr val="black"/>
                </a:solidFill>
              </a:rPr>
              <a:t>・</a:t>
            </a:r>
            <a:r>
              <a:rPr lang="en-US" altLang="ja-JP" sz="1200" dirty="0" smtClean="0">
                <a:solidFill>
                  <a:prstClr val="black"/>
                </a:solidFill>
              </a:rPr>
              <a:t>UNWTO</a:t>
            </a:r>
            <a:r>
              <a:rPr lang="ja-JP" altLang="en-US" sz="1200" dirty="0" smtClean="0">
                <a:solidFill>
                  <a:prstClr val="black"/>
                </a:solidFill>
              </a:rPr>
              <a:t>等の国際機関との連絡調整、</a:t>
            </a:r>
            <a:r>
              <a:rPr lang="ja-JP" altLang="en-US" sz="1200" dirty="0">
                <a:solidFill>
                  <a:prstClr val="black"/>
                </a:solidFill>
              </a:rPr>
              <a:t>二</a:t>
            </a:r>
            <a:r>
              <a:rPr lang="ja-JP" altLang="en-US" sz="1200" dirty="0" smtClean="0">
                <a:solidFill>
                  <a:prstClr val="black"/>
                </a:solidFill>
              </a:rPr>
              <a:t>国間交流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89" name="AutoShape 18"/>
          <p:cNvSpPr>
            <a:spLocks noChangeArrowheads="1"/>
          </p:cNvSpPr>
          <p:nvPr/>
        </p:nvSpPr>
        <p:spPr bwMode="auto">
          <a:xfrm>
            <a:off x="1139131" y="2258142"/>
            <a:ext cx="1944688" cy="228600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>
                <a:solidFill>
                  <a:prstClr val="black"/>
                </a:solidFill>
                <a:latin typeface="ＭＳ Ｐゴシック" panose="020B0600070205080204" pitchFamily="50" charset="-128"/>
              </a:rPr>
              <a:t>観光戦略課</a:t>
            </a:r>
          </a:p>
        </p:txBody>
      </p:sp>
      <p:sp>
        <p:nvSpPr>
          <p:cNvPr id="100" name="AutoShape 18"/>
          <p:cNvSpPr>
            <a:spLocks noChangeArrowheads="1"/>
          </p:cNvSpPr>
          <p:nvPr/>
        </p:nvSpPr>
        <p:spPr bwMode="auto">
          <a:xfrm>
            <a:off x="1132081" y="3264611"/>
            <a:ext cx="1944688" cy="228600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 smtClean="0">
                <a:solidFill>
                  <a:prstClr val="black"/>
                </a:solidFill>
                <a:latin typeface="ＭＳ Ｐゴシック" panose="020B0600070205080204" pitchFamily="50" charset="-128"/>
              </a:rPr>
              <a:t>参事官（旅行振興担当）</a:t>
            </a:r>
            <a:endParaRPr lang="ja-JP" altLang="en-US" sz="1400" b="1" dirty="0">
              <a:solidFill>
                <a:prstClr val="black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08" name="AutoShape 18"/>
          <p:cNvSpPr>
            <a:spLocks noChangeArrowheads="1"/>
          </p:cNvSpPr>
          <p:nvPr/>
        </p:nvSpPr>
        <p:spPr bwMode="auto">
          <a:xfrm>
            <a:off x="1132081" y="4523804"/>
            <a:ext cx="1944688" cy="228600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 smtClean="0">
                <a:solidFill>
                  <a:prstClr val="black"/>
                </a:solidFill>
                <a:latin typeface="ＭＳ Ｐゴシック" panose="020B0600070205080204" pitchFamily="50" charset="-128"/>
              </a:rPr>
              <a:t>参事官（</a:t>
            </a:r>
            <a:r>
              <a:rPr lang="en-US" altLang="ja-JP" sz="1400" b="1" dirty="0" smtClean="0">
                <a:solidFill>
                  <a:prstClr val="black"/>
                </a:solidFill>
                <a:latin typeface="ＭＳ Ｐゴシック" panose="020B0600070205080204" pitchFamily="50" charset="-128"/>
              </a:rPr>
              <a:t>MICE</a:t>
            </a:r>
            <a:r>
              <a:rPr lang="ja-JP" altLang="en-US" sz="1400" b="1" dirty="0" smtClean="0">
                <a:solidFill>
                  <a:prstClr val="black"/>
                </a:solidFill>
                <a:latin typeface="ＭＳ Ｐゴシック" panose="020B0600070205080204" pitchFamily="50" charset="-128"/>
              </a:rPr>
              <a:t>担当）</a:t>
            </a:r>
            <a:endParaRPr lang="ja-JP" altLang="en-US" sz="1400" b="1" dirty="0">
              <a:solidFill>
                <a:prstClr val="black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14" name="AutoShape 18"/>
          <p:cNvSpPr>
            <a:spLocks noChangeArrowheads="1"/>
          </p:cNvSpPr>
          <p:nvPr/>
        </p:nvSpPr>
        <p:spPr bwMode="auto">
          <a:xfrm>
            <a:off x="1145729" y="4830670"/>
            <a:ext cx="1944688" cy="228600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 smtClean="0">
                <a:solidFill>
                  <a:prstClr val="black"/>
                </a:solidFill>
                <a:latin typeface="ＭＳ Ｐゴシック" panose="020B0600070205080204" pitchFamily="50" charset="-128"/>
              </a:rPr>
              <a:t>参事官（国際関係担当）</a:t>
            </a:r>
            <a:endParaRPr lang="ja-JP" altLang="en-US" sz="1400" b="1" dirty="0">
              <a:solidFill>
                <a:prstClr val="black"/>
              </a:solidFill>
              <a:latin typeface="ＭＳ Ｐゴシック" panose="020B0600070205080204" pitchFamily="50" charset="-128"/>
            </a:endParaRPr>
          </a:p>
        </p:txBody>
      </p:sp>
      <p:cxnSp>
        <p:nvCxnSpPr>
          <p:cNvPr id="118" name="カギ線コネクタ 50"/>
          <p:cNvCxnSpPr>
            <a:cxnSpLocks noChangeShapeType="1"/>
            <a:endCxn id="117" idx="1"/>
          </p:cNvCxnSpPr>
          <p:nvPr/>
        </p:nvCxnSpPr>
        <p:spPr bwMode="auto">
          <a:xfrm rot="16200000" flipH="1">
            <a:off x="-1697696" y="3068937"/>
            <a:ext cx="4211206" cy="294206"/>
          </a:xfrm>
          <a:prstGeom prst="bentConnector2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23" name="テキスト ボックス 57"/>
          <p:cNvSpPr txBox="1">
            <a:spLocks noChangeArrowheads="1"/>
          </p:cNvSpPr>
          <p:nvPr/>
        </p:nvSpPr>
        <p:spPr bwMode="auto">
          <a:xfrm>
            <a:off x="3695206" y="5478011"/>
            <a:ext cx="635671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marL="216000" indent="-216000"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</a:t>
            </a:r>
            <a:r>
              <a:rPr lang="ja-JP" altLang="en-US" sz="1200" dirty="0" smtClean="0">
                <a:solidFill>
                  <a:prstClr val="black"/>
                </a:solidFill>
              </a:rPr>
              <a:t>・観光による地域振興支援、地域戦略・目標の構築、地域に対するコンサルティング機能強化温泉街の再生、東北観光復興の本格的稼働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124" name="テキスト ボックス 58"/>
          <p:cNvSpPr txBox="1">
            <a:spLocks noChangeArrowheads="1"/>
          </p:cNvSpPr>
          <p:nvPr/>
        </p:nvSpPr>
        <p:spPr bwMode="auto">
          <a:xfrm>
            <a:off x="3708855" y="5892349"/>
            <a:ext cx="57912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</a:t>
            </a:r>
            <a:r>
              <a:rPr lang="ja-JP" altLang="en-US" sz="1200" dirty="0" smtClean="0">
                <a:solidFill>
                  <a:prstClr val="black"/>
                </a:solidFill>
              </a:rPr>
              <a:t>・</a:t>
            </a:r>
            <a:r>
              <a:rPr lang="ja-JP" altLang="en-US" sz="1200" dirty="0">
                <a:solidFill>
                  <a:prstClr val="black"/>
                </a:solidFill>
              </a:rPr>
              <a:t>観光</a:t>
            </a:r>
            <a:r>
              <a:rPr lang="ja-JP" altLang="en-US" sz="1200" dirty="0" smtClean="0">
                <a:solidFill>
                  <a:prstClr val="black"/>
                </a:solidFill>
              </a:rPr>
              <a:t>資源の磨き上げ等の全体総括、古民家、新コンテンツ</a:t>
            </a:r>
            <a:endParaRPr lang="en-US" altLang="ja-JP" sz="1200" dirty="0">
              <a:solidFill>
                <a:prstClr val="black"/>
              </a:solidFill>
            </a:endParaRPr>
          </a:p>
        </p:txBody>
      </p:sp>
      <p:sp>
        <p:nvSpPr>
          <p:cNvPr id="81" name="AutoShape 38"/>
          <p:cNvSpPr>
            <a:spLocks noChangeArrowheads="1"/>
          </p:cNvSpPr>
          <p:nvPr/>
        </p:nvSpPr>
        <p:spPr bwMode="auto">
          <a:xfrm>
            <a:off x="65033" y="1092382"/>
            <a:ext cx="1944688" cy="266700"/>
          </a:xfrm>
          <a:prstGeom prst="flowChartProcess">
            <a:avLst/>
          </a:prstGeom>
          <a:solidFill>
            <a:schemeClr val="bg1"/>
          </a:solidFill>
          <a:ln w="34925" cmpd="dbl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600" b="1" dirty="0">
                <a:solidFill>
                  <a:srgbClr val="000000"/>
                </a:solidFill>
              </a:rPr>
              <a:t>観 光 庁 長 官</a:t>
            </a:r>
          </a:p>
        </p:txBody>
      </p:sp>
      <p:sp>
        <p:nvSpPr>
          <p:cNvPr id="86" name="AutoShape 41"/>
          <p:cNvSpPr>
            <a:spLocks noChangeArrowheads="1"/>
          </p:cNvSpPr>
          <p:nvPr/>
        </p:nvSpPr>
        <p:spPr bwMode="auto">
          <a:xfrm>
            <a:off x="154960" y="1617824"/>
            <a:ext cx="1673225" cy="220663"/>
          </a:xfrm>
          <a:prstGeom prst="flowChartProcess">
            <a:avLst/>
          </a:prstGeom>
          <a:solidFill>
            <a:schemeClr val="bg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>
                <a:solidFill>
                  <a:prstClr val="black"/>
                </a:solidFill>
              </a:rPr>
              <a:t>次　　　長</a:t>
            </a:r>
          </a:p>
        </p:txBody>
      </p:sp>
      <p:sp>
        <p:nvSpPr>
          <p:cNvPr id="98" name="AutoShape 41"/>
          <p:cNvSpPr>
            <a:spLocks noChangeArrowheads="1"/>
          </p:cNvSpPr>
          <p:nvPr/>
        </p:nvSpPr>
        <p:spPr bwMode="auto">
          <a:xfrm>
            <a:off x="555010" y="2631391"/>
            <a:ext cx="1673225" cy="220663"/>
          </a:xfrm>
          <a:prstGeom prst="flowChartProcess">
            <a:avLst/>
          </a:prstGeom>
          <a:solidFill>
            <a:schemeClr val="bg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 smtClean="0">
                <a:solidFill>
                  <a:prstClr val="black"/>
                </a:solidFill>
              </a:rPr>
              <a:t>審　議　官</a:t>
            </a:r>
            <a:endParaRPr lang="ja-JP" altLang="en-US" sz="1400" b="1" dirty="0">
              <a:solidFill>
                <a:prstClr val="black"/>
              </a:solidFill>
            </a:endParaRPr>
          </a:p>
        </p:txBody>
      </p:sp>
      <p:sp>
        <p:nvSpPr>
          <p:cNvPr id="106" name="AutoShape 41"/>
          <p:cNvSpPr>
            <a:spLocks noChangeArrowheads="1"/>
          </p:cNvSpPr>
          <p:nvPr/>
        </p:nvSpPr>
        <p:spPr bwMode="auto">
          <a:xfrm>
            <a:off x="555010" y="3947295"/>
            <a:ext cx="1673225" cy="220663"/>
          </a:xfrm>
          <a:prstGeom prst="flowChartProcess">
            <a:avLst/>
          </a:prstGeom>
          <a:solidFill>
            <a:schemeClr val="bg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 smtClean="0">
                <a:solidFill>
                  <a:prstClr val="black"/>
                </a:solidFill>
              </a:rPr>
              <a:t>審　議　官</a:t>
            </a:r>
            <a:endParaRPr lang="ja-JP" altLang="en-US" sz="1400" b="1" dirty="0">
              <a:solidFill>
                <a:prstClr val="black"/>
              </a:solidFill>
            </a:endParaRPr>
          </a:p>
        </p:txBody>
      </p:sp>
      <p:sp>
        <p:nvSpPr>
          <p:cNvPr id="128" name="テキスト ボックス 58"/>
          <p:cNvSpPr txBox="1">
            <a:spLocks noChangeArrowheads="1"/>
          </p:cNvSpPr>
          <p:nvPr/>
        </p:nvSpPr>
        <p:spPr bwMode="auto">
          <a:xfrm>
            <a:off x="3707557" y="6149524"/>
            <a:ext cx="57912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</a:t>
            </a:r>
            <a:r>
              <a:rPr lang="ja-JP" altLang="en-US" sz="1200" dirty="0" smtClean="0">
                <a:solidFill>
                  <a:prstClr val="black"/>
                </a:solidFill>
              </a:rPr>
              <a:t>・案内表示の多言語化等の促進、</a:t>
            </a:r>
            <a:r>
              <a:rPr lang="en-US" altLang="ja-JP" sz="1200" dirty="0" smtClean="0">
                <a:solidFill>
                  <a:prstClr val="black"/>
                </a:solidFill>
              </a:rPr>
              <a:t>ICT</a:t>
            </a:r>
            <a:r>
              <a:rPr lang="ja-JP" altLang="en-US" sz="1200" dirty="0" smtClean="0">
                <a:solidFill>
                  <a:prstClr val="black"/>
                </a:solidFill>
              </a:rPr>
              <a:t>による情報</a:t>
            </a:r>
            <a:r>
              <a:rPr lang="ja-JP" altLang="en-US" sz="1200" dirty="0">
                <a:solidFill>
                  <a:prstClr val="black"/>
                </a:solidFill>
              </a:rPr>
              <a:t>提供、</a:t>
            </a:r>
            <a:r>
              <a:rPr lang="en-US" altLang="ja-JP" sz="1200" dirty="0">
                <a:solidFill>
                  <a:prstClr val="black"/>
                </a:solidFill>
              </a:rPr>
              <a:t>DMO</a:t>
            </a:r>
            <a:r>
              <a:rPr lang="ja-JP" altLang="en-US" sz="1200" dirty="0">
                <a:solidFill>
                  <a:prstClr val="black"/>
                </a:solidFill>
              </a:rPr>
              <a:t>の育成・強化</a:t>
            </a:r>
            <a:endParaRPr lang="en-US" altLang="ja-JP" sz="1200" dirty="0">
              <a:solidFill>
                <a:prstClr val="black"/>
              </a:solidFill>
            </a:endParaRPr>
          </a:p>
        </p:txBody>
      </p:sp>
      <p:sp>
        <p:nvSpPr>
          <p:cNvPr id="129" name="テキスト ボックス 51"/>
          <p:cNvSpPr txBox="1">
            <a:spLocks noChangeArrowheads="1"/>
          </p:cNvSpPr>
          <p:nvPr/>
        </p:nvSpPr>
        <p:spPr bwMode="auto">
          <a:xfrm>
            <a:off x="2190453" y="5192081"/>
            <a:ext cx="579120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 smtClean="0">
                <a:solidFill>
                  <a:prstClr val="black"/>
                </a:solidFill>
              </a:rPr>
              <a:t>（観光地域振興課、観光資源課及び参事官（外客受入担当）の業務に関すること）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70" name="AutoShape 41"/>
          <p:cNvSpPr>
            <a:spLocks noChangeArrowheads="1"/>
          </p:cNvSpPr>
          <p:nvPr/>
        </p:nvSpPr>
        <p:spPr bwMode="auto">
          <a:xfrm>
            <a:off x="8687855" y="850831"/>
            <a:ext cx="1138237" cy="238125"/>
          </a:xfrm>
          <a:prstGeom prst="flowChartProcess">
            <a:avLst/>
          </a:prstGeom>
          <a:solidFill>
            <a:schemeClr val="bg1"/>
          </a:solidFill>
          <a:ln w="9525" cmpd="sng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/>
          <a:p>
            <a:pPr algn="ctr">
              <a:defRPr/>
            </a:pPr>
            <a:r>
              <a:rPr lang="ja-JP" altLang="en-US" sz="1050" dirty="0">
                <a:solidFill>
                  <a:srgbClr val="000000"/>
                </a:solidFill>
              </a:rPr>
              <a:t>観光企画課</a:t>
            </a:r>
          </a:p>
        </p:txBody>
      </p:sp>
      <p:sp>
        <p:nvSpPr>
          <p:cNvPr id="62" name="テキスト ボックス 51"/>
          <p:cNvSpPr txBox="1">
            <a:spLocks noChangeArrowheads="1"/>
          </p:cNvSpPr>
          <p:nvPr/>
        </p:nvSpPr>
        <p:spPr bwMode="auto">
          <a:xfrm>
            <a:off x="3086992" y="3589541"/>
            <a:ext cx="579278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87313" indent="-87313"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>
              <a:buFontTx/>
              <a:buNone/>
            </a:pPr>
            <a:r>
              <a:rPr lang="ja-JP" altLang="en-US" sz="1200" dirty="0">
                <a:solidFill>
                  <a:prstClr val="black"/>
                </a:solidFill>
              </a:rPr>
              <a:t>・・</a:t>
            </a:r>
            <a:r>
              <a:rPr lang="ja-JP" altLang="en-US" sz="1200" dirty="0" smtClean="0">
                <a:solidFill>
                  <a:prstClr val="black"/>
                </a:solidFill>
              </a:rPr>
              <a:t>・</a:t>
            </a:r>
            <a:r>
              <a:rPr lang="ja-JP" altLang="en-US" sz="1200" dirty="0">
                <a:solidFill>
                  <a:prstClr val="black"/>
                </a:solidFill>
              </a:rPr>
              <a:t>観光</a:t>
            </a:r>
            <a:r>
              <a:rPr lang="ja-JP" altLang="en-US" sz="1200" dirty="0" smtClean="0">
                <a:solidFill>
                  <a:prstClr val="black"/>
                </a:solidFill>
              </a:rPr>
              <a:t>産業の人材育成・確保、通訳案内士、観光教育、生産性向上</a:t>
            </a:r>
            <a:endParaRPr lang="ja-JP" altLang="en-US" sz="1200" dirty="0">
              <a:solidFill>
                <a:prstClr val="black"/>
              </a:solidFill>
            </a:endParaRPr>
          </a:p>
        </p:txBody>
      </p:sp>
      <p:cxnSp>
        <p:nvCxnSpPr>
          <p:cNvPr id="63" name="直線コネクタ 73"/>
          <p:cNvCxnSpPr>
            <a:cxnSpLocks noChangeShapeType="1"/>
          </p:cNvCxnSpPr>
          <p:nvPr/>
        </p:nvCxnSpPr>
        <p:spPr bwMode="auto">
          <a:xfrm>
            <a:off x="255064" y="3714954"/>
            <a:ext cx="871537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4" name="AutoShape 17"/>
          <p:cNvSpPr>
            <a:spLocks noChangeArrowheads="1"/>
          </p:cNvSpPr>
          <p:nvPr/>
        </p:nvSpPr>
        <p:spPr bwMode="auto">
          <a:xfrm>
            <a:off x="1125984" y="3607004"/>
            <a:ext cx="1944688" cy="217487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200" b="1" dirty="0" smtClean="0">
                <a:solidFill>
                  <a:prstClr val="black"/>
                </a:solidFill>
                <a:latin typeface="ＭＳ Ｐゴシック" panose="020B0600070205080204" pitchFamily="50" charset="-128"/>
              </a:rPr>
              <a:t>参事官（観光人材政策担当）</a:t>
            </a:r>
            <a:endParaRPr lang="ja-JP" altLang="en-US" sz="1200" b="1" dirty="0">
              <a:solidFill>
                <a:prstClr val="black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21" name="AutoShape 21"/>
          <p:cNvSpPr>
            <a:spLocks noChangeArrowheads="1"/>
          </p:cNvSpPr>
          <p:nvPr/>
        </p:nvSpPr>
        <p:spPr bwMode="auto">
          <a:xfrm>
            <a:off x="1773693" y="5528811"/>
            <a:ext cx="1944687" cy="217488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>
                <a:solidFill>
                  <a:prstClr val="black"/>
                </a:solidFill>
                <a:latin typeface="ＭＳ Ｐゴシック" panose="020B0600070205080204" pitchFamily="50" charset="-128"/>
              </a:rPr>
              <a:t>観光地域振興課</a:t>
            </a:r>
          </a:p>
        </p:txBody>
      </p:sp>
      <p:sp>
        <p:nvSpPr>
          <p:cNvPr id="122" name="AutoShape 22"/>
          <p:cNvSpPr>
            <a:spLocks noChangeArrowheads="1"/>
          </p:cNvSpPr>
          <p:nvPr/>
        </p:nvSpPr>
        <p:spPr bwMode="auto">
          <a:xfrm>
            <a:off x="1775282" y="5853455"/>
            <a:ext cx="1944687" cy="217487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>
                <a:solidFill>
                  <a:prstClr val="black"/>
                </a:solidFill>
                <a:latin typeface="ＭＳ Ｐゴシック" panose="020B0600070205080204" pitchFamily="50" charset="-128"/>
              </a:rPr>
              <a:t>観光資源課</a:t>
            </a:r>
          </a:p>
        </p:txBody>
      </p:sp>
      <p:sp>
        <p:nvSpPr>
          <p:cNvPr id="127" name="AutoShape 22"/>
          <p:cNvSpPr>
            <a:spLocks noChangeArrowheads="1"/>
          </p:cNvSpPr>
          <p:nvPr/>
        </p:nvSpPr>
        <p:spPr bwMode="auto">
          <a:xfrm>
            <a:off x="1778746" y="6178099"/>
            <a:ext cx="1944687" cy="217487"/>
          </a:xfrm>
          <a:prstGeom prst="flowChartProcess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 smtClean="0">
                <a:solidFill>
                  <a:prstClr val="black"/>
                </a:solidFill>
                <a:latin typeface="ＭＳ Ｐゴシック" panose="020B0600070205080204" pitchFamily="50" charset="-128"/>
              </a:rPr>
              <a:t>参事官（外客受入担当）</a:t>
            </a:r>
            <a:endParaRPr lang="ja-JP" altLang="en-US" sz="1400" b="1" dirty="0">
              <a:solidFill>
                <a:prstClr val="black"/>
              </a:solidFill>
              <a:latin typeface="ＭＳ Ｐゴシック" panose="020B0600070205080204" pitchFamily="50" charset="-128"/>
            </a:endParaRPr>
          </a:p>
        </p:txBody>
      </p:sp>
      <p:sp>
        <p:nvSpPr>
          <p:cNvPr id="117" name="AutoShape 16"/>
          <p:cNvSpPr>
            <a:spLocks noChangeArrowheads="1"/>
          </p:cNvSpPr>
          <p:nvPr/>
        </p:nvSpPr>
        <p:spPr bwMode="auto">
          <a:xfrm>
            <a:off x="555010" y="5211311"/>
            <a:ext cx="1673225" cy="220663"/>
          </a:xfrm>
          <a:prstGeom prst="flowChartProcess">
            <a:avLst/>
          </a:prstGeom>
          <a:solidFill>
            <a:schemeClr val="bg1"/>
          </a:solidFill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wrap="none" lIns="91422" tIns="45710" rIns="91422" bIns="45710" anchor="ctr"/>
          <a:lstStyle>
            <a:lvl1pPr>
              <a:spcBef>
                <a:spcPct val="20000"/>
              </a:spcBef>
              <a:buChar char="•"/>
              <a:defRPr kumimoji="1" sz="3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1pPr>
            <a:lvl2pPr marL="742950" indent="-285750">
              <a:spcBef>
                <a:spcPct val="20000"/>
              </a:spcBef>
              <a:buChar char="–"/>
              <a:defRPr kumimoji="1" sz="28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2pPr>
            <a:lvl3pPr marL="1143000" indent="-228600">
              <a:spcBef>
                <a:spcPct val="20000"/>
              </a:spcBef>
              <a:buChar char="•"/>
              <a:defRPr kumimoji="1"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3pPr>
            <a:lvl4pPr marL="1600200" indent="-228600">
              <a:spcBef>
                <a:spcPct val="20000"/>
              </a:spcBef>
              <a:buChar char="–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4pPr>
            <a:lvl5pPr marL="2057400" indent="-228600">
              <a:spcBef>
                <a:spcPct val="20000"/>
              </a:spcBef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0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50" charset="-128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ja-JP" altLang="en-US" sz="1400" b="1" dirty="0">
                <a:solidFill>
                  <a:prstClr val="black"/>
                </a:solidFill>
              </a:rPr>
              <a:t>観光地域振興部</a:t>
            </a: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2"/>
          </p:nvPr>
        </p:nvSpPr>
        <p:spPr>
          <a:xfrm>
            <a:off x="7505094" y="6505105"/>
            <a:ext cx="2311400" cy="476250"/>
          </a:xfrm>
        </p:spPr>
        <p:txBody>
          <a:bodyPr/>
          <a:lstStyle/>
          <a:p>
            <a:pPr>
              <a:defRPr/>
            </a:pPr>
            <a:fld id="{75CA6A57-9126-429E-8175-B00E62E49D20}" type="slidenum">
              <a:rPr lang="en-US" altLang="ja-JP" smtClean="0"/>
              <a:pPr>
                <a:defRPr/>
              </a:pPr>
              <a:t>4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04678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2700">
          <a:solidFill>
            <a:srgbClr val="FFFF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noAutofit/>
      </a:bodyPr>
      <a:lstStyle>
        <a:defPPr marL="1338263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BD9F5"/>
        </a:solidFill>
        <a:ln w="9525" algn="ctr">
          <a:solidFill>
            <a:schemeClr val="tx2"/>
          </a:solidFill>
          <a:round/>
          <a:headEnd/>
          <a:tailEnd/>
        </a:ln>
      </a:spPr>
      <a:bodyPr wrap="none" anchor="ctr"/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>
        <a:solidFill>
          <a:schemeClr val="bg1">
            <a:alpha val="60000"/>
          </a:schemeClr>
        </a:solidFill>
        <a:ln>
          <a:solidFill>
            <a:schemeClr val="accent5"/>
          </a:solidFill>
        </a:ln>
      </a:spPr>
      <a:bodyPr wrap="square" tIns="72000" bIns="72000" rtlCol="0" anchor="ctr" anchorCtr="1">
        <a:spAutoFit/>
      </a:bodyPr>
      <a:lstStyle>
        <a:defPPr>
          <a:defRPr kumimoji="1" sz="1200" dirty="0" smtClean="0">
            <a:latin typeface="+mn-ea"/>
            <a:ea typeface="+mn-ea"/>
          </a:defRPr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0.xml><?xml version="1.0" encoding="utf-8"?>
<a:theme xmlns:a="http://schemas.openxmlformats.org/drawingml/2006/main" name="9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1.xml><?xml version="1.0" encoding="utf-8"?>
<a:theme xmlns:a="http://schemas.openxmlformats.org/drawingml/2006/main" name="9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2.xml><?xml version="1.0" encoding="utf-8"?>
<a:theme xmlns:a="http://schemas.openxmlformats.org/drawingml/2006/main" name="10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3.xml><?xml version="1.0" encoding="utf-8"?>
<a:theme xmlns:a="http://schemas.openxmlformats.org/drawingml/2006/main" name="10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4.xml><?xml version="1.0" encoding="utf-8"?>
<a:theme xmlns:a="http://schemas.openxmlformats.org/drawingml/2006/main" name="9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5.xml><?xml version="1.0" encoding="utf-8"?>
<a:theme xmlns:a="http://schemas.openxmlformats.org/drawingml/2006/main" name="10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kumimoji="1" sz="1200" u="sng" dirty="0" smtClean="0">
            <a:latin typeface="メイリオ" panose="020B0604030504040204" pitchFamily="50" charset="-128"/>
            <a:ea typeface="メイリオ" panose="020B0604030504040204" pitchFamily="50" charset="-128"/>
            <a:cs typeface="メイリオ" panose="020B0604030504040204" pitchFamily="50" charset="-128"/>
          </a:defRPr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6.xml><?xml version="1.0" encoding="utf-8"?>
<a:theme xmlns:a="http://schemas.openxmlformats.org/drawingml/2006/main" name="10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ユーザー定義 1">
      <a:majorFont>
        <a:latin typeface="HGPｺﾞｼｯｸM"/>
        <a:ea typeface="HGPｺﾞｼｯｸM"/>
        <a:cs typeface=""/>
      </a:majorFont>
      <a:minorFont>
        <a:latin typeface="HGPｺﾞｼｯｸM"/>
        <a:ea typeface="HGPｺﾞｼｯｸM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noFill/>
          <a:miter lim="800000"/>
          <a:headEnd/>
          <a:tailEnd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 bwMode="auto">
        <a:solidFill>
          <a:srgbClr val="0066CC"/>
        </a:solidFill>
        <a:ln w="38100" cap="flat" cmpd="sng" algn="ctr">
          <a:solidFill>
            <a:srgbClr val="FFC000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7.xml><?xml version="1.0" encoding="utf-8"?>
<a:theme xmlns:a="http://schemas.openxmlformats.org/drawingml/2006/main" name="10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8.xml><?xml version="1.0" encoding="utf-8"?>
<a:theme xmlns:a="http://schemas.openxmlformats.org/drawingml/2006/main" name="10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9.xml><?xml version="1.0" encoding="utf-8"?>
<a:theme xmlns:a="http://schemas.openxmlformats.org/drawingml/2006/main" name="10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9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0.xml><?xml version="1.0" encoding="utf-8"?>
<a:theme xmlns:a="http://schemas.openxmlformats.org/drawingml/2006/main" name="16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1.xml><?xml version="1.0" encoding="utf-8"?>
<a:theme xmlns:a="http://schemas.openxmlformats.org/drawingml/2006/main" name="10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2.xml><?xml version="1.0" encoding="utf-8"?>
<a:theme xmlns:a="http://schemas.openxmlformats.org/drawingml/2006/main" name="107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3.xml><?xml version="1.0" encoding="utf-8"?>
<a:theme xmlns:a="http://schemas.openxmlformats.org/drawingml/2006/main" name="108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4.xml><?xml version="1.0" encoding="utf-8"?>
<a:theme xmlns:a="http://schemas.openxmlformats.org/drawingml/2006/main" name="125_標準デザイン">
  <a:themeElements>
    <a:clrScheme name="Office 2007-2010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5.xml><?xml version="1.0" encoding="utf-8"?>
<a:theme xmlns:a="http://schemas.openxmlformats.org/drawingml/2006/main" name="11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6.xml><?xml version="1.0" encoding="utf-8"?>
<a:theme xmlns:a="http://schemas.openxmlformats.org/drawingml/2006/main" name="111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7.xml><?xml version="1.0" encoding="utf-8"?>
<a:theme xmlns:a="http://schemas.openxmlformats.org/drawingml/2006/main" name="11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8.xml><?xml version="1.0" encoding="utf-8"?>
<a:theme xmlns:a="http://schemas.openxmlformats.org/drawingml/2006/main" name="114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9.xml><?xml version="1.0" encoding="utf-8"?>
<a:theme xmlns:a="http://schemas.openxmlformats.org/drawingml/2006/main" name="1_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0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0.xml><?xml version="1.0" encoding="utf-8"?>
<a:theme xmlns:a="http://schemas.openxmlformats.org/drawingml/2006/main" name="11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1.xml><?xml version="1.0" encoding="utf-8"?>
<a:theme xmlns:a="http://schemas.openxmlformats.org/drawingml/2006/main" name="116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2.xml><?xml version="1.0" encoding="utf-8"?>
<a:theme xmlns:a="http://schemas.openxmlformats.org/drawingml/2006/main" name="117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3.xml><?xml version="1.0" encoding="utf-8"?>
<a:theme xmlns:a="http://schemas.openxmlformats.org/drawingml/2006/main" name="118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4.xml><?xml version="1.0" encoding="utf-8"?>
<a:theme xmlns:a="http://schemas.openxmlformats.org/drawingml/2006/main" name="119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5.xml><?xml version="1.0" encoding="utf-8"?>
<a:theme xmlns:a="http://schemas.openxmlformats.org/drawingml/2006/main" name="120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6.xml><?xml version="1.0" encoding="utf-8"?>
<a:theme xmlns:a="http://schemas.openxmlformats.org/drawingml/2006/main" name="12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7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8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1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2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2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 w="38100">
          <a:noFill/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no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5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2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2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2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 bwMode="auto">
        <a:noFill/>
        <a:ln w="9525">
          <a:noFill/>
          <a:miter lim="800000"/>
          <a:headEnd/>
          <a:tailEnd/>
        </a:ln>
      </a:spPr>
      <a:bodyPr lIns="91389" tIns="45694" rIns="91389" bIns="45694">
        <a:spAutoFit/>
      </a:bodyPr>
      <a:lstStyle>
        <a:defPPr algn="r" eaLnBrk="0" hangingPunct="0">
          <a:spcBef>
            <a:spcPct val="50000"/>
          </a:spcBef>
          <a:defRPr kumimoji="0" sz="1200" dirty="0" smtClean="0"/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5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gradFill flip="none" rotWithShape="1">
            <a:gsLst>
              <a:gs pos="0">
                <a:srgbClr val="FFFFFF"/>
              </a:gs>
              <a:gs pos="16000">
                <a:srgbClr val="1F1F1F"/>
              </a:gs>
              <a:gs pos="17999">
                <a:srgbClr val="FFFFFF"/>
              </a:gs>
              <a:gs pos="42000">
                <a:srgbClr val="636363"/>
              </a:gs>
              <a:gs pos="53000">
                <a:srgbClr val="CFCFCF"/>
              </a:gs>
              <a:gs pos="66000">
                <a:srgbClr val="CFCFCF"/>
              </a:gs>
              <a:gs pos="75999">
                <a:srgbClr val="1F1F1F"/>
              </a:gs>
              <a:gs pos="78999">
                <a:srgbClr val="FFFFFF"/>
              </a:gs>
              <a:gs pos="100000">
                <a:srgbClr val="7F7F7F"/>
              </a:gs>
            </a:gsLst>
            <a:lin ang="2700000" scaled="0"/>
            <a:tileRect/>
          </a:gradFill>
        </a:ln>
      </a:spPr>
      <a:bodyPr rtlCol="0" anchor="t" anchorCtr="0"/>
      <a:lstStyle>
        <a:defPPr fontAlgn="base">
          <a:spcBef>
            <a:spcPct val="0"/>
          </a:spcBef>
          <a:spcAft>
            <a:spcPct val="0"/>
          </a:spcAft>
          <a:defRPr sz="1400" dirty="0" smtClean="0">
            <a:solidFill>
              <a:srgbClr val="000000"/>
            </a:solidFill>
            <a:latin typeface="ＭＳ ゴシック" pitchFamily="49" charset="-128"/>
            <a:ea typeface="ＭＳ ゴシック" pitchFamily="49" charset="-128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2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8BD9F5"/>
        </a:solidFill>
        <a:ln w="9525" algn="ctr">
          <a:solidFill>
            <a:schemeClr val="tx2"/>
          </a:solidFill>
          <a:round/>
          <a:headEnd/>
          <a:tailEnd/>
        </a:ln>
      </a:spPr>
      <a:bodyPr wrap="none" anchor="ctr"/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>
        <a:solidFill>
          <a:schemeClr val="bg1">
            <a:alpha val="60000"/>
          </a:schemeClr>
        </a:solidFill>
        <a:ln>
          <a:solidFill>
            <a:schemeClr val="accent5"/>
          </a:solidFill>
        </a:ln>
      </a:spPr>
      <a:bodyPr wrap="square" tIns="72000" bIns="72000" rtlCol="0" anchor="ctr" anchorCtr="1">
        <a:spAutoFit/>
      </a:bodyPr>
      <a:lstStyle>
        <a:defPPr>
          <a:defRPr kumimoji="1" sz="1200" dirty="0" smtClean="0">
            <a:latin typeface="+mn-ea"/>
            <a:ea typeface="+mn-ea"/>
          </a:defRPr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2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wrap="square">
        <a:spAutoFit/>
      </a:bodyPr>
      <a:lstStyle>
        <a:defPPr indent="177800" eaLnBrk="1" hangingPunct="1">
          <a:lnSpc>
            <a:spcPts val="2500"/>
          </a:lnSpc>
          <a:defRPr sz="2000" dirty="0" smtClean="0">
            <a:latin typeface="+mn-lt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30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25400" cap="flat" cmpd="sng" algn="ctr">
          <a:solidFill>
            <a:srgbClr val="00B0F0"/>
          </a:solidFill>
          <a:prstDash val="solid"/>
        </a:ln>
        <a:effectLst/>
      </a:spPr>
      <a:bodyPr anchor="ctr"/>
      <a:lstStyle>
        <a:defPPr fontAlgn="auto">
          <a:spcBef>
            <a:spcPts val="0"/>
          </a:spcBef>
          <a:spcAft>
            <a:spcPts val="0"/>
          </a:spcAft>
          <a:defRPr kumimoji="0" kern="0" dirty="0">
            <a:solidFill>
              <a:sysClr val="windowText" lastClr="000000"/>
            </a:solidFill>
            <a:latin typeface="ＭＳ Ｐゴシック"/>
            <a:ea typeface="ＭＳ Ｐゴシック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創英角ｺﾞｼｯｸUB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3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3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>
          <a:noFill/>
          <a:miter lim="800000"/>
          <a:headEnd/>
          <a:tailEnd/>
        </a:ln>
      </a:spPr>
      <a:bodyPr wrap="none" anchor="ctr"/>
      <a:lstStyle>
        <a:defPPr>
          <a:defRPr sz="1100" b="1" dirty="0" smtClean="0">
            <a:latin typeface="メイリオ" pitchFamily="50" charset="-128"/>
            <a:ea typeface="メイリオ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3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3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3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観光庁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観光庁" id="{E678849D-3D67-461F-8372-1A51C107DECA}" vid="{C8A38C52-FDA7-413A-B392-BC7CA706AC22}"/>
    </a:ext>
  </a:extLst>
</a:theme>
</file>

<file path=ppt/theme/theme41.xml><?xml version="1.0" encoding="utf-8"?>
<a:theme xmlns:a="http://schemas.openxmlformats.org/drawingml/2006/main" name="3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3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4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4.xml><?xml version="1.0" encoding="utf-8"?>
<a:theme xmlns:a="http://schemas.openxmlformats.org/drawingml/2006/main" name="4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6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6.xml><?xml version="1.0" encoding="utf-8"?>
<a:theme xmlns:a="http://schemas.openxmlformats.org/drawingml/2006/main" name="4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7.xml><?xml version="1.0" encoding="utf-8"?>
<a:theme xmlns:a="http://schemas.openxmlformats.org/drawingml/2006/main" name="4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8.xml><?xml version="1.0" encoding="utf-8"?>
<a:theme xmlns:a="http://schemas.openxmlformats.org/drawingml/2006/main" name="4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 w="38100">
          <a:noFill/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no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9.xml><?xml version="1.0" encoding="utf-8"?>
<a:theme xmlns:a="http://schemas.openxmlformats.org/drawingml/2006/main" name="4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0.xml><?xml version="1.0" encoding="utf-8"?>
<a:theme xmlns:a="http://schemas.openxmlformats.org/drawingml/2006/main" name="4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CC66"/>
        </a:solidFill>
        <a:ln w="9525" algn="ctr">
          <a:noFill/>
          <a:round/>
          <a:headEnd/>
          <a:tailEnd/>
        </a:ln>
        <a:effectLst/>
      </a:spPr>
      <a:bodyPr wrap="none" tIns="90000" anchor="ctr" anchorCtr="1"/>
      <a:lstStyle>
        <a:defPPr>
          <a:defRPr sz="1400" b="1" dirty="0" smtClean="0">
            <a:solidFill>
              <a:schemeClr val="bg1"/>
            </a:solidFill>
            <a:latin typeface="メイリオ" pitchFamily="50" charset="-128"/>
            <a:ea typeface="メイリオ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>
        <a:noFill/>
        <a:ln>
          <a:solidFill>
            <a:schemeClr val="bg1">
              <a:lumMod val="65000"/>
            </a:schemeClr>
          </a:solidFill>
        </a:ln>
      </a:spPr>
      <a:bodyPr wrap="square" tIns="72000" bIns="72000" rtlCol="0" anchor="ctr" anchorCtr="0">
        <a:spAutoFit/>
      </a:bodyPr>
      <a:lstStyle>
        <a:defPPr marL="285750" indent="-285750">
          <a:buFont typeface="Arial" panose="020B0604020202020204" pitchFamily="34" charset="0"/>
          <a:buChar char="•"/>
          <a:defRPr dirty="0" smtClean="0"/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1.xml><?xml version="1.0" encoding="utf-8"?>
<a:theme xmlns:a="http://schemas.openxmlformats.org/drawingml/2006/main" name="4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2.xml><?xml version="1.0" encoding="utf-8"?>
<a:theme xmlns:a="http://schemas.openxmlformats.org/drawingml/2006/main" name="4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3.xml><?xml version="1.0" encoding="utf-8"?>
<a:theme xmlns:a="http://schemas.openxmlformats.org/drawingml/2006/main" name="4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4.xml><?xml version="1.0" encoding="utf-8"?>
<a:theme xmlns:a="http://schemas.openxmlformats.org/drawingml/2006/main" name="5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5.xml><?xml version="1.0" encoding="utf-8"?>
<a:theme xmlns:a="http://schemas.openxmlformats.org/drawingml/2006/main" name="5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6.xml><?xml version="1.0" encoding="utf-8"?>
<a:theme xmlns:a="http://schemas.openxmlformats.org/drawingml/2006/main" name="5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7.xml><?xml version="1.0" encoding="utf-8"?>
<a:theme xmlns:a="http://schemas.openxmlformats.org/drawingml/2006/main" name="5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8.xml><?xml version="1.0" encoding="utf-8"?>
<a:theme xmlns:a="http://schemas.openxmlformats.org/drawingml/2006/main" name="5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9.xml><?xml version="1.0" encoding="utf-8"?>
<a:theme xmlns:a="http://schemas.openxmlformats.org/drawingml/2006/main" name="5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6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1.xml><?xml version="1.0" encoding="utf-8"?>
<a:theme xmlns:a="http://schemas.openxmlformats.org/drawingml/2006/main" name="5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2.xml><?xml version="1.0" encoding="utf-8"?>
<a:theme xmlns:a="http://schemas.openxmlformats.org/drawingml/2006/main" name="6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3.xml><?xml version="1.0" encoding="utf-8"?>
<a:theme xmlns:a="http://schemas.openxmlformats.org/drawingml/2006/main" name="6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0000"/>
        </a:solidFill>
        <a:ln w="38100">
          <a:noFill/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no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4.xml><?xml version="1.0" encoding="utf-8"?>
<a:theme xmlns:a="http://schemas.openxmlformats.org/drawingml/2006/main" name="6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5.xml><?xml version="1.0" encoding="utf-8"?>
<a:theme xmlns:a="http://schemas.openxmlformats.org/drawingml/2006/main" name="6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6.xml><?xml version="1.0" encoding="utf-8"?>
<a:theme xmlns:a="http://schemas.openxmlformats.org/drawingml/2006/main" name="66_標準デザイン">
  <a:themeElements>
    <a:clrScheme name="3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6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3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7.xml><?xml version="1.0" encoding="utf-8"?>
<a:theme xmlns:a="http://schemas.openxmlformats.org/drawingml/2006/main" name="6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8.xml><?xml version="1.0" encoding="utf-8"?>
<a:theme xmlns:a="http://schemas.openxmlformats.org/drawingml/2006/main" name="6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9.xml><?xml version="1.0" encoding="utf-8"?>
<a:theme xmlns:a="http://schemas.openxmlformats.org/drawingml/2006/main" name="6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0.xml><?xml version="1.0" encoding="utf-8"?>
<a:theme xmlns:a="http://schemas.openxmlformats.org/drawingml/2006/main" name="7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1.xml><?xml version="1.0" encoding="utf-8"?>
<a:theme xmlns:a="http://schemas.openxmlformats.org/drawingml/2006/main" name="7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2.xml><?xml version="1.0" encoding="utf-8"?>
<a:theme xmlns:a="http://schemas.openxmlformats.org/drawingml/2006/main" name="7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3.xml><?xml version="1.0" encoding="utf-8"?>
<a:theme xmlns:a="http://schemas.openxmlformats.org/drawingml/2006/main" name="7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>
          <a:solidFill>
            <a:srgbClr val="FF00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1338263" algn="ctr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4.xml><?xml version="1.0" encoding="utf-8"?>
<a:theme xmlns:a="http://schemas.openxmlformats.org/drawingml/2006/main" name="74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5.xml><?xml version="1.0" encoding="utf-8"?>
<a:theme xmlns:a="http://schemas.openxmlformats.org/drawingml/2006/main" name="2_観光庁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観光庁" id="{E678849D-3D67-461F-8372-1A51C107DECA}" vid="{C8A38C52-FDA7-413A-B392-BC7CA706AC22}"/>
    </a:ext>
  </a:extLst>
</a:theme>
</file>

<file path=ppt/theme/theme76.xml><?xml version="1.0" encoding="utf-8"?>
<a:theme xmlns:a="http://schemas.openxmlformats.org/drawingml/2006/main" name="7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7.xml><?xml version="1.0" encoding="utf-8"?>
<a:theme xmlns:a="http://schemas.openxmlformats.org/drawingml/2006/main" name="7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8.xml><?xml version="1.0" encoding="utf-8"?>
<a:theme xmlns:a="http://schemas.openxmlformats.org/drawingml/2006/main" name="7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9.xml><?xml version="1.0" encoding="utf-8"?>
<a:theme xmlns:a="http://schemas.openxmlformats.org/drawingml/2006/main" name="7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008000"/>
          </a:solidFill>
          <a:round/>
          <a:headEnd/>
          <a:tailEnd/>
        </a:ln>
        <a:effectLst>
          <a:outerShdw dist="107763" dir="2700000" algn="ctr" rotWithShape="0">
            <a:schemeClr val="bg2">
              <a:alpha val="50000"/>
            </a:schemeClr>
          </a:outerShdw>
        </a:effectLst>
      </a:spPr>
      <a:bodyPr wrap="square" lIns="91422" tIns="45710" rIns="91422" bIns="45710" anchor="t" anchorCtr="0">
        <a:spAutoFit/>
      </a:bodyPr>
      <a:lstStyle>
        <a:defPPr marL="1338263">
          <a:lnSpc>
            <a:spcPct val="130000"/>
          </a:lnSpc>
          <a:tabLst>
            <a:tab pos="3136900" algn="ctr"/>
          </a:tabLst>
          <a:defRPr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0.xml><?xml version="1.0" encoding="utf-8"?>
<a:theme xmlns:a="http://schemas.openxmlformats.org/drawingml/2006/main" name="79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38100">
          <a:solidFill>
            <a:srgbClr val="FF0000"/>
          </a:solidFill>
          <a:round/>
          <a:headEnd/>
          <a:tailEnd/>
        </a:ln>
        <a:effectLst/>
      </a:spPr>
      <a:bodyPr wrap="square" lIns="91422" tIns="45710" rIns="91422" bIns="45710" rtlCol="0" anchor="t" anchorCtr="0">
        <a:spAutoFit/>
      </a:bodyPr>
      <a:lstStyle>
        <a:defPPr marL="4763" algn="ctr">
          <a:lnSpc>
            <a:spcPct val="130000"/>
          </a:lnSpc>
          <a:tabLst>
            <a:tab pos="3136900" algn="ctr"/>
          </a:tabLst>
          <a:defRPr kumimoji="1" sz="1600" dirty="0" smtClean="0">
            <a:latin typeface="+mn-ea"/>
            <a:ea typeface="+mn-ea"/>
          </a:defRPr>
        </a:defPPr>
      </a:lstStyle>
    </a:spDef>
    <a:lnDef>
      <a:spPr bwMode="auto">
        <a:solidFill>
          <a:srgbClr val="0066CC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arrow"/>
        </a:ln>
        <a:effectLst/>
      </a:spPr>
      <a:bodyPr/>
      <a:lstStyle/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1.xml><?xml version="1.0" encoding="utf-8"?>
<a:theme xmlns:a="http://schemas.openxmlformats.org/drawingml/2006/main" name="8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31750">
          <a:solidFill>
            <a:srgbClr val="00B050"/>
          </a:solidFill>
        </a:ln>
      </a:spPr>
      <a:bodyPr lIns="95782" tIns="47891" rIns="95782" bIns="47891" anchor="ctr"/>
      <a:lstStyle>
        <a:defPPr algn="ctr">
          <a:defRPr b="1" dirty="0" smtClean="0">
            <a:solidFill>
              <a:schemeClr val="tx1"/>
            </a:solidFill>
            <a:latin typeface="ＭＳ Ｐゴシック" panose="020B0600070205080204" pitchFamily="50" charset="-128"/>
            <a:ea typeface="ＭＳ Ｐゴシック" panose="020B0600070205080204" pitchFamily="50" charset="-128"/>
            <a:cs typeface="Times New Roman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2.xml><?xml version="1.0" encoding="utf-8"?>
<a:theme xmlns:a="http://schemas.openxmlformats.org/drawingml/2006/main" name="8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3.xml><?xml version="1.0" encoding="utf-8"?>
<a:theme xmlns:a="http://schemas.openxmlformats.org/drawingml/2006/main" name="82_標準デザイン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4.xml><?xml version="1.0" encoding="utf-8"?>
<a:theme xmlns:a="http://schemas.openxmlformats.org/drawingml/2006/main" name="83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5.xml><?xml version="1.0" encoding="utf-8"?>
<a:theme xmlns:a="http://schemas.openxmlformats.org/drawingml/2006/main" name="84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2700">
          <a:solidFill>
            <a:srgbClr val="FFFF00"/>
          </a:solidFill>
          <a:prstDash val="sysDash"/>
          <a:round/>
          <a:headEnd/>
          <a:tailEnd/>
        </a:ln>
        <a:effectLst/>
      </a:spPr>
      <a:bodyPr wrap="square" lIns="91422" tIns="45710" rIns="91422" bIns="45710" rtlCol="0" anchor="t" anchorCtr="0">
        <a:noAutofit/>
      </a:bodyPr>
      <a:lstStyle>
        <a:defPPr marL="1338263">
          <a:lnSpc>
            <a:spcPct val="130000"/>
          </a:lnSpc>
          <a:tabLst>
            <a:tab pos="3136900" algn="ctr"/>
          </a:tabLst>
          <a:defRPr kumimoji="1" sz="1200" dirty="0" smtClean="0">
            <a:latin typeface="+mj-ea"/>
            <a:ea typeface="+mj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6.xml><?xml version="1.0" encoding="utf-8"?>
<a:theme xmlns:a="http://schemas.openxmlformats.org/drawingml/2006/main" name="8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7.xml><?xml version="1.0" encoding="utf-8"?>
<a:theme xmlns:a="http://schemas.openxmlformats.org/drawingml/2006/main" name="93_標準デザイン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8.xml><?xml version="1.0" encoding="utf-8"?>
<a:theme xmlns:a="http://schemas.openxmlformats.org/drawingml/2006/main" name="8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9.xml><?xml version="1.0" encoding="utf-8"?>
<a:theme xmlns:a="http://schemas.openxmlformats.org/drawingml/2006/main" name="90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blurRad="44450" dist="27940" dir="5400000" algn="ctr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a:spPr>
      <a:bodyPr vert="horz" wrap="none" lIns="91440" tIns="45720" rIns="91440" bIns="0" numCol="1" rtlCol="0" anchor="ctr" anchorCtr="0" compatLnSpc="1">
        <a:prstTxWarp prst="textNoShape">
          <a:avLst/>
        </a:prstTxWarp>
      </a:bodyPr>
      <a:lstStyle>
        <a:defPPr indent="93663" algn="ctr" fontAlgn="base">
          <a:spcBef>
            <a:spcPct val="0"/>
          </a:spcBef>
          <a:spcAft>
            <a:spcPct val="0"/>
          </a:spcAft>
          <a:defRPr sz="1600" b="1" dirty="0" smtClean="0">
            <a:latin typeface="メイリオ" panose="020B0604030504040204" pitchFamily="50" charset="-128"/>
            <a:ea typeface="メイリオ" panose="020B0604030504040204" pitchFamily="50" charset="-128"/>
            <a:cs typeface="メイリオ" panose="020B0604030504040204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  <a:txDef>
      <a:spPr>
        <a:noFill/>
        <a:ln>
          <a:solidFill>
            <a:srgbClr val="00B050"/>
          </a:solidFill>
          <a:prstDash val="dash"/>
        </a:ln>
      </a:spPr>
      <a:bodyPr wrap="none" rtlCol="0">
        <a:noAutofit/>
      </a:bodyPr>
      <a:lstStyle>
        <a:defPPr algn="l">
          <a:buFont typeface="Wingdings" pitchFamily="2" charset="2"/>
          <a:buChar char="Ø"/>
          <a:defRPr kumimoji="1" sz="1200" dirty="0" smtClean="0"/>
        </a:defPPr>
      </a:lstStyle>
    </a:tx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0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1.xml><?xml version="1.0" encoding="utf-8"?>
<a:theme xmlns:a="http://schemas.openxmlformats.org/drawingml/2006/main" name="8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99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HG丸ｺﾞｼｯｸM-PRO" pitchFamily="50" charset="-128"/>
            <a:ea typeface="HG丸ｺﾞｼｯｸM-PRO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2.xml><?xml version="1.0" encoding="utf-8"?>
<a:theme xmlns:a="http://schemas.openxmlformats.org/drawingml/2006/main" name="88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002060"/>
        </a:solidFill>
        <a:ln w="38100">
          <a:noFill/>
          <a:prstDash val="sysDash"/>
          <a:round/>
          <a:headEnd/>
          <a:tailEnd/>
        </a:ln>
        <a:effectLst/>
      </a:spPr>
      <a:bodyPr wrap="square" lIns="91422" tIns="45710" rIns="91422" bIns="45710" rtlCol="0" anchor="ctr" anchorCtr="0">
        <a:noAutofit/>
      </a:bodyPr>
      <a:lstStyle>
        <a:defPPr>
          <a:tabLst>
            <a:tab pos="3136900" algn="ctr"/>
          </a:tabLst>
          <a:defRPr kumimoji="1" sz="1400" dirty="0" smtClean="0">
            <a:solidFill>
              <a:schemeClr val="bg1"/>
            </a:solidFill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3.xml><?xml version="1.0" encoding="utf-8"?>
<a:theme xmlns:a="http://schemas.openxmlformats.org/drawingml/2006/main" name="89_標準デザイン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4.xml><?xml version="1.0" encoding="utf-8"?>
<a:theme xmlns:a="http://schemas.openxmlformats.org/drawingml/2006/main" name="95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5.xml><?xml version="1.0" encoding="utf-8"?>
<a:theme xmlns:a="http://schemas.openxmlformats.org/drawingml/2006/main" name="91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6.xml><?xml version="1.0" encoding="utf-8"?>
<a:theme xmlns:a="http://schemas.openxmlformats.org/drawingml/2006/main" name="9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CDEFFB"/>
        </a:solidFill>
        <a:ln w="190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18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7.xml><?xml version="1.0" encoding="utf-8"?>
<a:theme xmlns:a="http://schemas.openxmlformats.org/drawingml/2006/main" name="96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ln w="25400">
          <a:solidFill>
            <a:schemeClr val="tx1"/>
          </a:solidFill>
          <a:miter lim="800000"/>
          <a:headEnd type="none" w="med" len="med"/>
          <a:tailEnd type="arrow"/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8.xml><?xml version="1.0" encoding="utf-8"?>
<a:theme xmlns:a="http://schemas.openxmlformats.org/drawingml/2006/main" name="112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00"/>
        </a:solidFill>
        <a:ln w="15875">
          <a:solidFill>
            <a:schemeClr val="tx1"/>
          </a:solidFill>
          <a:miter lim="800000"/>
          <a:headEnd/>
          <a:tailEnd/>
        </a:ln>
      </a:spPr>
      <a:bodyPr wrap="square">
        <a:spAutoFit/>
      </a:bodyPr>
      <a:lstStyle>
        <a:defPPr>
          <a:defRPr sz="1000" b="1" dirty="0" smtClean="0">
            <a:latin typeface="+mn-ea"/>
            <a:ea typeface="+mn-ea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9.xml><?xml version="1.0" encoding="utf-8"?>
<a:theme xmlns:a="http://schemas.openxmlformats.org/drawingml/2006/main" name="97_標準デザイン">
  <a:themeElements>
    <a:clrScheme name="2_標準デザイン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標準デザイン">
      <a:majorFont>
        <a:latin typeface="HGP創英角ｺﾞｼｯｸUB"/>
        <a:ea typeface="HGP創英角ｺﾞｼｯｸUB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66CC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pitchFamily="50" charset="-128"/>
          </a:defRPr>
        </a:defPPr>
      </a:lstStyle>
    </a:lnDef>
  </a:objectDefaults>
  <a:extraClrSchemeLst>
    <a:extraClrScheme>
      <a:clrScheme name="2_標準デザイン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標準デザイン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標準デザイン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667</TotalTime>
  <Words>1046</Words>
  <Application>Microsoft Office PowerPoint</Application>
  <PresentationFormat>A4 210 x 297 mm</PresentationFormat>
  <Paragraphs>128</Paragraphs>
  <Slides>5</Slides>
  <Notes>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0</vt:i4>
      </vt:variant>
      <vt:variant>
        <vt:lpstr>テーマ</vt:lpstr>
      </vt:variant>
      <vt:variant>
        <vt:i4>126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42" baseType="lpstr">
      <vt:lpstr>HGPｺﾞｼｯｸM</vt:lpstr>
      <vt:lpstr>HGP創英角ｺﾞｼｯｸUB</vt:lpstr>
      <vt:lpstr>HGS教科書体</vt:lpstr>
      <vt:lpstr>HG丸ｺﾞｼｯｸM-PRO</vt:lpstr>
      <vt:lpstr>Meiryo UI</vt:lpstr>
      <vt:lpstr>ＭＳ Ｐゴシック</vt:lpstr>
      <vt:lpstr>メイリオ</vt:lpstr>
      <vt:lpstr>Arial</vt:lpstr>
      <vt:lpstr>Calibri</vt:lpstr>
      <vt:lpstr>Calibri Light</vt:lpstr>
      <vt:lpstr>2_標準デザイン</vt:lpstr>
      <vt:lpstr>58_標準デザイン</vt:lpstr>
      <vt:lpstr>59_標準デザイン</vt:lpstr>
      <vt:lpstr>3_標準デザイン</vt:lpstr>
      <vt:lpstr>4_標準デザイン</vt:lpstr>
      <vt:lpstr>5_標準デザイン</vt:lpstr>
      <vt:lpstr>6_標準デザイン</vt:lpstr>
      <vt:lpstr>7_標準デザイン</vt:lpstr>
      <vt:lpstr>31_標準デザイン</vt:lpstr>
      <vt:lpstr>8_標準デザイン</vt:lpstr>
      <vt:lpstr>9_標準デザイン</vt:lpstr>
      <vt:lpstr>10_標準デザイン</vt:lpstr>
      <vt:lpstr>11_標準デザイン</vt:lpstr>
      <vt:lpstr>12_標準デザイン</vt:lpstr>
      <vt:lpstr>13_標準デザイン</vt:lpstr>
      <vt:lpstr>14_標準デザイン</vt:lpstr>
      <vt:lpstr>15_標準デザイン</vt:lpstr>
      <vt:lpstr>16_標準デザイン</vt:lpstr>
      <vt:lpstr>20_標準デザイン</vt:lpstr>
      <vt:lpstr>17_標準デザイン</vt:lpstr>
      <vt:lpstr>18_標準デザイン</vt:lpstr>
      <vt:lpstr>19_標準デザイン</vt:lpstr>
      <vt:lpstr>25_標準デザイン</vt:lpstr>
      <vt:lpstr>21_標準デザイン</vt:lpstr>
      <vt:lpstr>22_標準デザイン</vt:lpstr>
      <vt:lpstr>23_標準デザイン</vt:lpstr>
      <vt:lpstr>24_標準デザイン</vt:lpstr>
      <vt:lpstr>26_標準デザイン</vt:lpstr>
      <vt:lpstr>27_標準デザイン</vt:lpstr>
      <vt:lpstr>52_標準デザイン</vt:lpstr>
      <vt:lpstr>28_標準デザイン</vt:lpstr>
      <vt:lpstr>29_標準デザイン</vt:lpstr>
      <vt:lpstr>30_標準デザイン</vt:lpstr>
      <vt:lpstr>32_標準デザイン</vt:lpstr>
      <vt:lpstr>33_標準デザイン</vt:lpstr>
      <vt:lpstr>34_標準デザイン</vt:lpstr>
      <vt:lpstr>35_標準デザイン</vt:lpstr>
      <vt:lpstr>36_標準デザイン</vt:lpstr>
      <vt:lpstr>37_標準デザイン</vt:lpstr>
      <vt:lpstr>観光庁</vt:lpstr>
      <vt:lpstr>38_標準デザイン</vt:lpstr>
      <vt:lpstr>39_標準デザイン</vt:lpstr>
      <vt:lpstr>40_標準デザイン</vt:lpstr>
      <vt:lpstr>41_標準デザイン</vt:lpstr>
      <vt:lpstr>60_標準デザイン</vt:lpstr>
      <vt:lpstr>42_標準デザイン</vt:lpstr>
      <vt:lpstr>43_標準デザイン</vt:lpstr>
      <vt:lpstr>44_標準デザイン</vt:lpstr>
      <vt:lpstr>45_標準デザイン</vt:lpstr>
      <vt:lpstr>46_標準デザイン</vt:lpstr>
      <vt:lpstr>47_標準デザイン</vt:lpstr>
      <vt:lpstr>48_標準デザイン</vt:lpstr>
      <vt:lpstr>49_標準デザイン</vt:lpstr>
      <vt:lpstr>50_標準デザイン</vt:lpstr>
      <vt:lpstr>51_標準デザイン</vt:lpstr>
      <vt:lpstr>53_標準デザイン</vt:lpstr>
      <vt:lpstr>54_標準デザイン</vt:lpstr>
      <vt:lpstr>55_標準デザイン</vt:lpstr>
      <vt:lpstr>56_標準デザイン</vt:lpstr>
      <vt:lpstr>61_標準デザイン</vt:lpstr>
      <vt:lpstr>57_標準デザイン</vt:lpstr>
      <vt:lpstr>62_標準デザイン</vt:lpstr>
      <vt:lpstr>63_標準デザイン</vt:lpstr>
      <vt:lpstr>64_標準デザイン</vt:lpstr>
      <vt:lpstr>65_標準デザイン</vt:lpstr>
      <vt:lpstr>66_標準デザイン</vt:lpstr>
      <vt:lpstr>67_標準デザイン</vt:lpstr>
      <vt:lpstr>68_標準デザイン</vt:lpstr>
      <vt:lpstr>69_標準デザイン</vt:lpstr>
      <vt:lpstr>70_標準デザイン</vt:lpstr>
      <vt:lpstr>71_標準デザイン</vt:lpstr>
      <vt:lpstr>72_標準デザイン</vt:lpstr>
      <vt:lpstr>73_標準デザイン</vt:lpstr>
      <vt:lpstr>74_標準デザイン</vt:lpstr>
      <vt:lpstr>2_観光庁</vt:lpstr>
      <vt:lpstr>75_標準デザイン</vt:lpstr>
      <vt:lpstr>76_標準デザイン</vt:lpstr>
      <vt:lpstr>77_標準デザイン</vt:lpstr>
      <vt:lpstr>78_標準デザイン</vt:lpstr>
      <vt:lpstr>79_標準デザイン</vt:lpstr>
      <vt:lpstr>80_標準デザイン</vt:lpstr>
      <vt:lpstr>81_標準デザイン</vt:lpstr>
      <vt:lpstr>82_標準デザイン</vt:lpstr>
      <vt:lpstr>83_標準デザイン</vt:lpstr>
      <vt:lpstr>84_標準デザイン</vt:lpstr>
      <vt:lpstr>85_標準デザイン</vt:lpstr>
      <vt:lpstr>93_標準デザイン</vt:lpstr>
      <vt:lpstr>87_標準デザイン</vt:lpstr>
      <vt:lpstr>90_標準デザイン</vt:lpstr>
      <vt:lpstr>デザインの設定</vt:lpstr>
      <vt:lpstr>86_標準デザイン</vt:lpstr>
      <vt:lpstr>88_標準デザイン</vt:lpstr>
      <vt:lpstr>89_標準デザイン</vt:lpstr>
      <vt:lpstr>95_標準デザイン</vt:lpstr>
      <vt:lpstr>91_標準デザイン</vt:lpstr>
      <vt:lpstr>92_標準デザイン</vt:lpstr>
      <vt:lpstr>96_標準デザイン</vt:lpstr>
      <vt:lpstr>112_標準デザイン</vt:lpstr>
      <vt:lpstr>97_標準デザイン</vt:lpstr>
      <vt:lpstr>98_標準デザイン</vt:lpstr>
      <vt:lpstr>99_標準デザイン</vt:lpstr>
      <vt:lpstr>100_標準デザイン</vt:lpstr>
      <vt:lpstr>101_標準デザイン</vt:lpstr>
      <vt:lpstr>94_標準デザイン</vt:lpstr>
      <vt:lpstr>102_標準デザイン</vt:lpstr>
      <vt:lpstr>103_標準デザイン</vt:lpstr>
      <vt:lpstr>109_標準デザイン</vt:lpstr>
      <vt:lpstr>104_標準デザイン</vt:lpstr>
      <vt:lpstr>105_標準デザイン</vt:lpstr>
      <vt:lpstr>167_標準デザイン</vt:lpstr>
      <vt:lpstr>106_標準デザイン</vt:lpstr>
      <vt:lpstr>107_標準デザイン</vt:lpstr>
      <vt:lpstr>108_標準デザイン</vt:lpstr>
      <vt:lpstr>125_標準デザイン</vt:lpstr>
      <vt:lpstr>110_標準デザイン</vt:lpstr>
      <vt:lpstr>111_標準デザイン</vt:lpstr>
      <vt:lpstr>113_標準デザイン</vt:lpstr>
      <vt:lpstr>114_標準デザイン</vt:lpstr>
      <vt:lpstr>1_Office テーマ</vt:lpstr>
      <vt:lpstr>115_標準デザイン</vt:lpstr>
      <vt:lpstr>116_標準デザイン</vt:lpstr>
      <vt:lpstr>117_標準デザイン</vt:lpstr>
      <vt:lpstr>118_標準デザイン</vt:lpstr>
      <vt:lpstr>119_標準デザイン</vt:lpstr>
      <vt:lpstr>120_標準デザイン</vt:lpstr>
      <vt:lpstr>121_標準デザイン</vt:lpstr>
      <vt:lpstr>think-cell Slide</vt:lpstr>
      <vt:lpstr>観光庁のご紹介</vt:lpstr>
      <vt:lpstr>PowerPoint プレゼンテーション</vt:lpstr>
      <vt:lpstr>PowerPoint プレゼンテーション</vt:lpstr>
      <vt:lpstr>PowerPoint プレゼンテーション</vt:lpstr>
      <vt:lpstr>観光庁の概要（平成３０年１０月１日現在）</vt:lpstr>
    </vt:vector>
  </TitlesOfParts>
  <Company>国土交通省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スライド 1</dc:title>
  <dc:creator>行政情報化推進課</dc:creator>
  <cp:lastModifiedBy>なし</cp:lastModifiedBy>
  <cp:revision>2014</cp:revision>
  <cp:lastPrinted>2018-11-19T06:37:55Z</cp:lastPrinted>
  <dcterms:created xsi:type="dcterms:W3CDTF">2013-05-28T07:06:06Z</dcterms:created>
  <dcterms:modified xsi:type="dcterms:W3CDTF">2018-11-19T07:13:09Z</dcterms:modified>
</cp:coreProperties>
</file>